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6" r:id="rId4"/>
    <p:sldMasterId id="2147483676" r:id="rId5"/>
    <p:sldMasterId id="2147483681" r:id="rId6"/>
    <p:sldMasterId id="2147483691" r:id="rId7"/>
    <p:sldMasterId id="2147483698" r:id="rId8"/>
  </p:sldMasterIdLst>
  <p:notesMasterIdLst>
    <p:notesMasterId r:id="rId38"/>
  </p:notesMasterIdLst>
  <p:sldIdLst>
    <p:sldId id="497" r:id="rId9"/>
    <p:sldId id="533" r:id="rId10"/>
    <p:sldId id="558" r:id="rId11"/>
    <p:sldId id="534" r:id="rId12"/>
    <p:sldId id="535" r:id="rId13"/>
    <p:sldId id="536" r:id="rId14"/>
    <p:sldId id="540" r:id="rId15"/>
    <p:sldId id="541" r:id="rId16"/>
    <p:sldId id="537" r:id="rId17"/>
    <p:sldId id="542" r:id="rId18"/>
    <p:sldId id="543" r:id="rId19"/>
    <p:sldId id="544" r:id="rId20"/>
    <p:sldId id="545" r:id="rId21"/>
    <p:sldId id="546" r:id="rId22"/>
    <p:sldId id="547" r:id="rId23"/>
    <p:sldId id="548" r:id="rId24"/>
    <p:sldId id="538" r:id="rId25"/>
    <p:sldId id="549" r:id="rId26"/>
    <p:sldId id="550" r:id="rId27"/>
    <p:sldId id="551" r:id="rId28"/>
    <p:sldId id="560" r:id="rId29"/>
    <p:sldId id="559" r:id="rId30"/>
    <p:sldId id="552" r:id="rId31"/>
    <p:sldId id="553" r:id="rId32"/>
    <p:sldId id="554" r:id="rId33"/>
    <p:sldId id="555" r:id="rId34"/>
    <p:sldId id="556" r:id="rId35"/>
    <p:sldId id="557" r:id="rId36"/>
    <p:sldId id="539" r:id="rId37"/>
  </p:sldIdLst>
  <p:sldSz cx="9906000" cy="6858000" type="A4"/>
  <p:notesSz cx="6797675" cy="9926638"/>
  <p:embeddedFontLst>
    <p:embeddedFont>
      <p:font typeface="Malgun Gothic" panose="020B0503020000020004" pitchFamily="50" charset="-127"/>
      <p:regular r:id="rId39"/>
      <p:bold r:id="rId40"/>
    </p:embeddedFont>
    <p:embeddedFont>
      <p:font typeface="Arial Unicode MS" panose="020B0604020202020204" pitchFamily="50" charset="-127"/>
      <p:regular r:id="rId41"/>
    </p:embeddedFont>
    <p:embeddedFont>
      <p:font typeface="Consolas" panose="020B0609020204030204" pitchFamily="49" charset="0"/>
      <p:regular r:id="rId42"/>
      <p:bold r:id="rId43"/>
      <p:italic r:id="rId44"/>
      <p:boldItalic r:id="rId45"/>
    </p:embeddedFont>
    <p:embeddedFont>
      <p:font typeface="HY중고딕" panose="02030600000101010101" pitchFamily="18" charset="-127"/>
      <p:regular r:id="rId46"/>
    </p:embeddedFont>
    <p:embeddedFont>
      <p:font typeface="KB금융 본문체 Light" panose="020B0303000000000000" pitchFamily="50" charset="-127"/>
      <p:regular r:id="rId47"/>
    </p:embeddedFont>
    <p:embeddedFont>
      <p:font typeface="KB금융 본문체 Medium" panose="020B0603000000000000" pitchFamily="50" charset="-127"/>
      <p:regular r:id="rId48"/>
    </p:embeddedFont>
    <p:embeddedFont>
      <p:font typeface="KB금융 제목체 Medium" panose="020B0603000000000000" pitchFamily="50" charset="-127"/>
      <p:regular r:id="rId49"/>
    </p:embeddedFont>
    <p:embeddedFont>
      <p:font typeface="나눔고딕" panose="020D0604000000000000" pitchFamily="50" charset="-127"/>
      <p:regular r:id="rId50"/>
      <p:bold r:id="rId51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E63B10E9-11EB-4226-8EEB-DB7F9E6E8FAF}">
          <p14:sldIdLst>
            <p14:sldId id="497"/>
            <p14:sldId id="533"/>
            <p14:sldId id="558"/>
            <p14:sldId id="534"/>
            <p14:sldId id="535"/>
            <p14:sldId id="536"/>
            <p14:sldId id="540"/>
            <p14:sldId id="541"/>
            <p14:sldId id="537"/>
            <p14:sldId id="542"/>
            <p14:sldId id="543"/>
            <p14:sldId id="544"/>
            <p14:sldId id="545"/>
            <p14:sldId id="546"/>
            <p14:sldId id="547"/>
            <p14:sldId id="548"/>
            <p14:sldId id="538"/>
            <p14:sldId id="549"/>
            <p14:sldId id="550"/>
            <p14:sldId id="551"/>
            <p14:sldId id="560"/>
            <p14:sldId id="559"/>
            <p14:sldId id="552"/>
            <p14:sldId id="553"/>
            <p14:sldId id="554"/>
            <p14:sldId id="555"/>
            <p14:sldId id="556"/>
            <p14:sldId id="557"/>
            <p14:sldId id="5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7" orient="horz" pos="1003">
          <p15:clr>
            <a:srgbClr val="A4A3A4"/>
          </p15:clr>
        </p15:guide>
        <p15:guide id="9" orient="horz" pos="300">
          <p15:clr>
            <a:srgbClr val="A4A3A4"/>
          </p15:clr>
        </p15:guide>
        <p15:guide id="10" orient="horz" pos="482">
          <p15:clr>
            <a:srgbClr val="A4A3A4"/>
          </p15:clr>
        </p15:guide>
        <p15:guide id="14" orient="horz" pos="1230">
          <p15:clr>
            <a:srgbClr val="A4A3A4"/>
          </p15:clr>
        </p15:guide>
        <p15:guide id="15" orient="horz" pos="640">
          <p15:clr>
            <a:srgbClr val="A4A3A4"/>
          </p15:clr>
        </p15:guide>
        <p15:guide id="16" pos="6023">
          <p15:clr>
            <a:srgbClr val="A4A3A4"/>
          </p15:clr>
        </p15:guide>
        <p15:guide id="17" pos="4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CE1"/>
    <a:srgbClr val="C6D9F1"/>
    <a:srgbClr val="FFFDE5"/>
    <a:srgbClr val="FFFFFF"/>
    <a:srgbClr val="62574A"/>
    <a:srgbClr val="339933"/>
    <a:srgbClr val="9E5ECE"/>
    <a:srgbClr val="EBF1DE"/>
    <a:srgbClr val="FFF8EB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041557-B027-4094-89DA-296C8C5E80CE}" v="692" dt="2023-11-23T02:06:41.537"/>
    <p1510:client id="{C3123021-1769-A787-D1C5-638B0D396E3E}" v="570" dt="2023-11-22T07:38:02.7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밝은 스타일 3 - 강조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보통 스타일 3 - 강조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56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536" y="96"/>
      </p:cViewPr>
      <p:guideLst>
        <p:guide orient="horz" pos="4110"/>
        <p:guide orient="horz" pos="1003"/>
        <p:guide orient="horz" pos="300"/>
        <p:guide orient="horz" pos="482"/>
        <p:guide orient="horz" pos="1230"/>
        <p:guide orient="horz" pos="640"/>
        <p:guide pos="6023"/>
        <p:guide pos="4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1.fntdata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4.fntdata"/><Relationship Id="rId47" Type="http://schemas.openxmlformats.org/officeDocument/2006/relationships/font" Target="fonts/font9.fntdata"/><Relationship Id="rId50" Type="http://schemas.openxmlformats.org/officeDocument/2006/relationships/font" Target="fonts/font12.fntdata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5.fntdata"/><Relationship Id="rId48" Type="http://schemas.openxmlformats.org/officeDocument/2006/relationships/font" Target="fonts/font10.fntdata"/><Relationship Id="rId56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13.fntdata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8.fntdata"/><Relationship Id="rId20" Type="http://schemas.openxmlformats.org/officeDocument/2006/relationships/slide" Target="slides/slide12.xml"/><Relationship Id="rId41" Type="http://schemas.openxmlformats.org/officeDocument/2006/relationships/font" Target="fonts/font3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11.fntdata"/><Relationship Id="rId57" Type="http://schemas.microsoft.com/office/2015/10/relationships/revisionInfo" Target="revisionInfo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font" Target="fonts/font6.fntdata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김승원 Azure SA" userId="S::seungwonk@megazone.com::7bca110a-a245-4659-8b43-5bb7d8d494ee" providerId="AD" clId="Web-{C3123021-1769-A787-D1C5-638B0D396E3E}"/>
    <pc:docChg chg="addSld modSld modSection">
      <pc:chgData name="김승원 Azure SA" userId="S::seungwonk@megazone.com::7bca110a-a245-4659-8b43-5bb7d8d494ee" providerId="AD" clId="Web-{C3123021-1769-A787-D1C5-638B0D396E3E}" dt="2023-11-22T07:38:01.777" v="400" actId="20577"/>
      <pc:docMkLst>
        <pc:docMk/>
      </pc:docMkLst>
      <pc:sldChg chg="addSp modSp">
        <pc:chgData name="김승원 Azure SA" userId="S::seungwonk@megazone.com::7bca110a-a245-4659-8b43-5bb7d8d494ee" providerId="AD" clId="Web-{C3123021-1769-A787-D1C5-638B0D396E3E}" dt="2023-11-22T07:36:54.413" v="335" actId="20577"/>
        <pc:sldMkLst>
          <pc:docMk/>
          <pc:sldMk cId="3165163804" sldId="549"/>
        </pc:sldMkLst>
        <pc:spChg chg="add mod">
          <ac:chgData name="김승원 Azure SA" userId="S::seungwonk@megazone.com::7bca110a-a245-4659-8b43-5bb7d8d494ee" providerId="AD" clId="Web-{C3123021-1769-A787-D1C5-638B0D396E3E}" dt="2023-11-22T07:36:54.413" v="335" actId="20577"/>
          <ac:spMkLst>
            <pc:docMk/>
            <pc:sldMk cId="3165163804" sldId="549"/>
            <ac:spMk id="5" creationId="{66C0CED6-61E3-A7DC-06A3-312D7E0CCCC2}"/>
          </ac:spMkLst>
        </pc:spChg>
      </pc:sldChg>
      <pc:sldChg chg="addSp">
        <pc:chgData name="김승원 Azure SA" userId="S::seungwonk@megazone.com::7bca110a-a245-4659-8b43-5bb7d8d494ee" providerId="AD" clId="Web-{C3123021-1769-A787-D1C5-638B0D396E3E}" dt="2023-11-22T07:36:40.271" v="328"/>
        <pc:sldMkLst>
          <pc:docMk/>
          <pc:sldMk cId="1741476104" sldId="550"/>
        </pc:sldMkLst>
        <pc:spChg chg="add">
          <ac:chgData name="김승원 Azure SA" userId="S::seungwonk@megazone.com::7bca110a-a245-4659-8b43-5bb7d8d494ee" providerId="AD" clId="Web-{C3123021-1769-A787-D1C5-638B0D396E3E}" dt="2023-11-22T07:36:40.271" v="328"/>
          <ac:spMkLst>
            <pc:docMk/>
            <pc:sldMk cId="1741476104" sldId="550"/>
            <ac:spMk id="5" creationId="{66665472-4B8E-9EA0-2052-5C81EA8A748D}"/>
          </ac:spMkLst>
        </pc:spChg>
      </pc:sldChg>
      <pc:sldChg chg="addSp modSp">
        <pc:chgData name="김승원 Azure SA" userId="S::seungwonk@megazone.com::7bca110a-a245-4659-8b43-5bb7d8d494ee" providerId="AD" clId="Web-{C3123021-1769-A787-D1C5-638B0D396E3E}" dt="2023-11-22T07:37:58.152" v="399" actId="20577"/>
        <pc:sldMkLst>
          <pc:docMk/>
          <pc:sldMk cId="93380090" sldId="551"/>
        </pc:sldMkLst>
        <pc:spChg chg="add mod">
          <ac:chgData name="김승원 Azure SA" userId="S::seungwonk@megazone.com::7bca110a-a245-4659-8b43-5bb7d8d494ee" providerId="AD" clId="Web-{C3123021-1769-A787-D1C5-638B0D396E3E}" dt="2023-11-22T07:37:58.152" v="399" actId="20577"/>
          <ac:spMkLst>
            <pc:docMk/>
            <pc:sldMk cId="93380090" sldId="551"/>
            <ac:spMk id="5" creationId="{3440F2BC-707B-B335-FFC4-CB78FF7051EA}"/>
          </ac:spMkLst>
        </pc:spChg>
      </pc:sldChg>
      <pc:sldChg chg="addSp modSp">
        <pc:chgData name="김승원 Azure SA" userId="S::seungwonk@megazone.com::7bca110a-a245-4659-8b43-5bb7d8d494ee" providerId="AD" clId="Web-{C3123021-1769-A787-D1C5-638B0D396E3E}" dt="2023-11-22T07:38:01.777" v="400" actId="20577"/>
        <pc:sldMkLst>
          <pc:docMk/>
          <pc:sldMk cId="3962946524" sldId="552"/>
        </pc:sldMkLst>
        <pc:spChg chg="add mod">
          <ac:chgData name="김승원 Azure SA" userId="S::seungwonk@megazone.com::7bca110a-a245-4659-8b43-5bb7d8d494ee" providerId="AD" clId="Web-{C3123021-1769-A787-D1C5-638B0D396E3E}" dt="2023-11-22T07:38:01.777" v="400" actId="20577"/>
          <ac:spMkLst>
            <pc:docMk/>
            <pc:sldMk cId="3962946524" sldId="552"/>
            <ac:spMk id="5" creationId="{D49F23CC-D594-F164-0B1B-8BC66405EE22}"/>
          </ac:spMkLst>
        </pc:spChg>
      </pc:sldChg>
      <pc:sldChg chg="addSp modSp">
        <pc:chgData name="김승원 Azure SA" userId="S::seungwonk@megazone.com::7bca110a-a245-4659-8b43-5bb7d8d494ee" providerId="AD" clId="Web-{C3123021-1769-A787-D1C5-638B0D396E3E}" dt="2023-11-22T07:35:35.094" v="254" actId="1076"/>
        <pc:sldMkLst>
          <pc:docMk/>
          <pc:sldMk cId="1760396035" sldId="554"/>
        </pc:sldMkLst>
        <pc:spChg chg="mod">
          <ac:chgData name="김승원 Azure SA" userId="S::seungwonk@megazone.com::7bca110a-a245-4659-8b43-5bb7d8d494ee" providerId="AD" clId="Web-{C3123021-1769-A787-D1C5-638B0D396E3E}" dt="2023-11-22T07:06:14.352" v="109" actId="20577"/>
          <ac:spMkLst>
            <pc:docMk/>
            <pc:sldMk cId="1760396035" sldId="554"/>
            <ac:spMk id="3" creationId="{D386E291-A54B-5A03-5524-035BFE39AF25}"/>
          </ac:spMkLst>
        </pc:spChg>
        <pc:spChg chg="add mod">
          <ac:chgData name="김승원 Azure SA" userId="S::seungwonk@megazone.com::7bca110a-a245-4659-8b43-5bb7d8d494ee" providerId="AD" clId="Web-{C3123021-1769-A787-D1C5-638B0D396E3E}" dt="2023-11-22T07:35:35.094" v="254" actId="1076"/>
          <ac:spMkLst>
            <pc:docMk/>
            <pc:sldMk cId="1760396035" sldId="554"/>
            <ac:spMk id="5" creationId="{BD50B46A-A333-AEEE-F521-37F22C3CD796}"/>
          </ac:spMkLst>
        </pc:spChg>
      </pc:sldChg>
      <pc:sldChg chg="addSp modSp add replId">
        <pc:chgData name="김승원 Azure SA" userId="S::seungwonk@megazone.com::7bca110a-a245-4659-8b43-5bb7d8d494ee" providerId="AD" clId="Web-{C3123021-1769-A787-D1C5-638B0D396E3E}" dt="2023-11-22T07:35:55.252" v="285" actId="20577"/>
        <pc:sldMkLst>
          <pc:docMk/>
          <pc:sldMk cId="2956976092" sldId="561"/>
        </pc:sldMkLst>
        <pc:spChg chg="mod">
          <ac:chgData name="김승원 Azure SA" userId="S::seungwonk@megazone.com::7bca110a-a245-4659-8b43-5bb7d8d494ee" providerId="AD" clId="Web-{C3123021-1769-A787-D1C5-638B0D396E3E}" dt="2023-11-22T07:06:36.853" v="131" actId="20577"/>
          <ac:spMkLst>
            <pc:docMk/>
            <pc:sldMk cId="2956976092" sldId="561"/>
            <ac:spMk id="3" creationId="{D386E291-A54B-5A03-5524-035BFE39AF25}"/>
          </ac:spMkLst>
        </pc:spChg>
        <pc:spChg chg="add mod">
          <ac:chgData name="김승원 Azure SA" userId="S::seungwonk@megazone.com::7bca110a-a245-4659-8b43-5bb7d8d494ee" providerId="AD" clId="Web-{C3123021-1769-A787-D1C5-638B0D396E3E}" dt="2023-11-22T07:35:55.252" v="285" actId="20577"/>
          <ac:spMkLst>
            <pc:docMk/>
            <pc:sldMk cId="2956976092" sldId="561"/>
            <ac:spMk id="5" creationId="{32ED6C1A-4E60-22E3-D54B-7B597BA1CFAA}"/>
          </ac:spMkLst>
        </pc:spChg>
      </pc:sldChg>
      <pc:sldChg chg="addSp modSp add replId">
        <pc:chgData name="김승원 Azure SA" userId="S::seungwonk@megazone.com::7bca110a-a245-4659-8b43-5bb7d8d494ee" providerId="AD" clId="Web-{C3123021-1769-A787-D1C5-638B0D396E3E}" dt="2023-11-22T07:36:03.971" v="296" actId="20577"/>
        <pc:sldMkLst>
          <pc:docMk/>
          <pc:sldMk cId="1457149829" sldId="562"/>
        </pc:sldMkLst>
        <pc:spChg chg="mod">
          <ac:chgData name="김승원 Azure SA" userId="S::seungwonk@megazone.com::7bca110a-a245-4659-8b43-5bb7d8d494ee" providerId="AD" clId="Web-{C3123021-1769-A787-D1C5-638B0D396E3E}" dt="2023-11-22T07:06:48.759" v="146" actId="20577"/>
          <ac:spMkLst>
            <pc:docMk/>
            <pc:sldMk cId="1457149829" sldId="562"/>
            <ac:spMk id="3" creationId="{D386E291-A54B-5A03-5524-035BFE39AF25}"/>
          </ac:spMkLst>
        </pc:spChg>
        <pc:spChg chg="add mod">
          <ac:chgData name="김승원 Azure SA" userId="S::seungwonk@megazone.com::7bca110a-a245-4659-8b43-5bb7d8d494ee" providerId="AD" clId="Web-{C3123021-1769-A787-D1C5-638B0D396E3E}" dt="2023-11-22T07:36:03.971" v="296" actId="20577"/>
          <ac:spMkLst>
            <pc:docMk/>
            <pc:sldMk cId="1457149829" sldId="562"/>
            <ac:spMk id="5" creationId="{52C3CDE6-8492-7D54-B3D2-57500F8179E8}"/>
          </ac:spMkLst>
        </pc:spChg>
      </pc:sldChg>
    </pc:docChg>
  </pc:docChgLst>
  <pc:docChgLst>
    <pc:chgData name="MTC-Presales 안남수" userId="830536ec-96eb-4152-83f9-b05e0ecaac42" providerId="ADAL" clId="{C0041557-B027-4094-89DA-296C8C5E80CE}"/>
    <pc:docChg chg="undo custSel addSld delSld modSld sldOrd modSection">
      <pc:chgData name="MTC-Presales 안남수" userId="830536ec-96eb-4152-83f9-b05e0ecaac42" providerId="ADAL" clId="{C0041557-B027-4094-89DA-296C8C5E80CE}" dt="2023-11-23T02:10:27.016" v="1787" actId="20577"/>
      <pc:docMkLst>
        <pc:docMk/>
      </pc:docMkLst>
      <pc:sldChg chg="del">
        <pc:chgData name="MTC-Presales 안남수" userId="830536ec-96eb-4152-83f9-b05e0ecaac42" providerId="ADAL" clId="{C0041557-B027-4094-89DA-296C8C5E80CE}" dt="2023-11-23T01:25:46.474" v="1631" actId="47"/>
        <pc:sldMkLst>
          <pc:docMk/>
          <pc:sldMk cId="1025998387" sldId="491"/>
        </pc:sldMkLst>
      </pc:sldChg>
      <pc:sldChg chg="del">
        <pc:chgData name="MTC-Presales 안남수" userId="830536ec-96eb-4152-83f9-b05e0ecaac42" providerId="ADAL" clId="{C0041557-B027-4094-89DA-296C8C5E80CE}" dt="2023-11-23T01:25:46.474" v="1631" actId="47"/>
        <pc:sldMkLst>
          <pc:docMk/>
          <pc:sldMk cId="2190427177" sldId="498"/>
        </pc:sldMkLst>
      </pc:sldChg>
      <pc:sldChg chg="modSp mod modShow">
        <pc:chgData name="MTC-Presales 안남수" userId="830536ec-96eb-4152-83f9-b05e0ecaac42" providerId="ADAL" clId="{C0041557-B027-4094-89DA-296C8C5E80CE}" dt="2023-11-23T01:27:13.742" v="1642" actId="729"/>
        <pc:sldMkLst>
          <pc:docMk/>
          <pc:sldMk cId="3729206367" sldId="499"/>
        </pc:sldMkLst>
        <pc:graphicFrameChg chg="mod modGraphic">
          <ac:chgData name="MTC-Presales 안남수" userId="830536ec-96eb-4152-83f9-b05e0ecaac42" providerId="ADAL" clId="{C0041557-B027-4094-89DA-296C8C5E80CE}" dt="2023-11-23T01:27:02.268" v="1641" actId="14100"/>
          <ac:graphicFrameMkLst>
            <pc:docMk/>
            <pc:sldMk cId="3729206367" sldId="499"/>
            <ac:graphicFrameMk id="16" creationId="{179C507D-D621-E68A-4AAE-F0B1DC1328FF}"/>
          </ac:graphicFrameMkLst>
        </pc:graphicFrameChg>
      </pc:sldChg>
      <pc:sldChg chg="del">
        <pc:chgData name="MTC-Presales 안남수" userId="830536ec-96eb-4152-83f9-b05e0ecaac42" providerId="ADAL" clId="{C0041557-B027-4094-89DA-296C8C5E80CE}" dt="2023-11-23T01:25:46.474" v="1631" actId="47"/>
        <pc:sldMkLst>
          <pc:docMk/>
          <pc:sldMk cId="2101768513" sldId="503"/>
        </pc:sldMkLst>
      </pc:sldChg>
      <pc:sldChg chg="modSp mod modShow">
        <pc:chgData name="MTC-Presales 안남수" userId="830536ec-96eb-4152-83f9-b05e0ecaac42" providerId="ADAL" clId="{C0041557-B027-4094-89DA-296C8C5E80CE}" dt="2023-11-23T01:27:13.742" v="1642" actId="729"/>
        <pc:sldMkLst>
          <pc:docMk/>
          <pc:sldMk cId="2944746639" sldId="506"/>
        </pc:sldMkLst>
        <pc:graphicFrameChg chg="mod modGraphic">
          <ac:chgData name="MTC-Presales 안남수" userId="830536ec-96eb-4152-83f9-b05e0ecaac42" providerId="ADAL" clId="{C0041557-B027-4094-89DA-296C8C5E80CE}" dt="2023-11-23T01:26:49.288" v="1639" actId="14100"/>
          <ac:graphicFrameMkLst>
            <pc:docMk/>
            <pc:sldMk cId="2944746639" sldId="506"/>
            <ac:graphicFrameMk id="16" creationId="{179C507D-D621-E68A-4AAE-F0B1DC1328FF}"/>
          </ac:graphicFrameMkLst>
        </pc:graphicFrameChg>
      </pc:sldChg>
      <pc:sldChg chg="del">
        <pc:chgData name="MTC-Presales 안남수" userId="830536ec-96eb-4152-83f9-b05e0ecaac42" providerId="ADAL" clId="{C0041557-B027-4094-89DA-296C8C5E80CE}" dt="2023-11-23T01:25:58.445" v="1632" actId="47"/>
        <pc:sldMkLst>
          <pc:docMk/>
          <pc:sldMk cId="2432958534" sldId="508"/>
        </pc:sldMkLst>
      </pc:sldChg>
      <pc:sldChg chg="del">
        <pc:chgData name="MTC-Presales 안남수" userId="830536ec-96eb-4152-83f9-b05e0ecaac42" providerId="ADAL" clId="{C0041557-B027-4094-89DA-296C8C5E80CE}" dt="2023-11-23T01:25:46.474" v="1631" actId="47"/>
        <pc:sldMkLst>
          <pc:docMk/>
          <pc:sldMk cId="1034335822" sldId="524"/>
        </pc:sldMkLst>
      </pc:sldChg>
      <pc:sldChg chg="del">
        <pc:chgData name="MTC-Presales 안남수" userId="830536ec-96eb-4152-83f9-b05e0ecaac42" providerId="ADAL" clId="{C0041557-B027-4094-89DA-296C8C5E80CE}" dt="2023-11-23T01:25:58.445" v="1632" actId="47"/>
        <pc:sldMkLst>
          <pc:docMk/>
          <pc:sldMk cId="4024516631" sldId="525"/>
        </pc:sldMkLst>
      </pc:sldChg>
      <pc:sldChg chg="del">
        <pc:chgData name="MTC-Presales 안남수" userId="830536ec-96eb-4152-83f9-b05e0ecaac42" providerId="ADAL" clId="{C0041557-B027-4094-89DA-296C8C5E80CE}" dt="2023-11-23T01:25:58.445" v="1632" actId="47"/>
        <pc:sldMkLst>
          <pc:docMk/>
          <pc:sldMk cId="2264134943" sldId="526"/>
        </pc:sldMkLst>
      </pc:sldChg>
      <pc:sldChg chg="del">
        <pc:chgData name="MTC-Presales 안남수" userId="830536ec-96eb-4152-83f9-b05e0ecaac42" providerId="ADAL" clId="{C0041557-B027-4094-89DA-296C8C5E80CE}" dt="2023-11-23T01:25:46.474" v="1631" actId="47"/>
        <pc:sldMkLst>
          <pc:docMk/>
          <pc:sldMk cId="1355000914" sldId="531"/>
        </pc:sldMkLst>
      </pc:sldChg>
      <pc:sldChg chg="addSp modSp mod">
        <pc:chgData name="MTC-Presales 안남수" userId="830536ec-96eb-4152-83f9-b05e0ecaac42" providerId="ADAL" clId="{C0041557-B027-4094-89DA-296C8C5E80CE}" dt="2023-11-22T08:14:56.227" v="1172" actId="108"/>
        <pc:sldMkLst>
          <pc:docMk/>
          <pc:sldMk cId="3056389153" sldId="534"/>
        </pc:sldMkLst>
        <pc:graphicFrameChg chg="add mod modGraphic">
          <ac:chgData name="MTC-Presales 안남수" userId="830536ec-96eb-4152-83f9-b05e0ecaac42" providerId="ADAL" clId="{C0041557-B027-4094-89DA-296C8C5E80CE}" dt="2023-11-22T08:14:56.227" v="1172" actId="108"/>
          <ac:graphicFrameMkLst>
            <pc:docMk/>
            <pc:sldMk cId="3056389153" sldId="534"/>
            <ac:graphicFrameMk id="4" creationId="{FDACA00B-1D2C-815E-123A-230A0814C0C3}"/>
          </ac:graphicFrameMkLst>
        </pc:graphicFrameChg>
      </pc:sldChg>
      <pc:sldChg chg="addSp delSp modSp mod">
        <pc:chgData name="MTC-Presales 안남수" userId="830536ec-96eb-4152-83f9-b05e0ecaac42" providerId="ADAL" clId="{C0041557-B027-4094-89DA-296C8C5E80CE}" dt="2023-11-22T06:33:28.379" v="168" actId="1076"/>
        <pc:sldMkLst>
          <pc:docMk/>
          <pc:sldMk cId="45464010" sldId="535"/>
        </pc:sldMkLst>
        <pc:spChg chg="add mod">
          <ac:chgData name="MTC-Presales 안남수" userId="830536ec-96eb-4152-83f9-b05e0ecaac42" providerId="ADAL" clId="{C0041557-B027-4094-89DA-296C8C5E80CE}" dt="2023-11-22T06:25:17.331" v="70" actId="122"/>
          <ac:spMkLst>
            <pc:docMk/>
            <pc:sldMk cId="45464010" sldId="535"/>
            <ac:spMk id="5" creationId="{E0025B35-7962-B263-7732-016CC7BF87C9}"/>
          </ac:spMkLst>
        </pc:spChg>
        <pc:graphicFrameChg chg="add del mod modGraphic">
          <ac:chgData name="MTC-Presales 안남수" userId="830536ec-96eb-4152-83f9-b05e0ecaac42" providerId="ADAL" clId="{C0041557-B027-4094-89DA-296C8C5E80CE}" dt="2023-11-22T06:32:57.967" v="160" actId="478"/>
          <ac:graphicFrameMkLst>
            <pc:docMk/>
            <pc:sldMk cId="45464010" sldId="535"/>
            <ac:graphicFrameMk id="6" creationId="{1807409A-0A0D-15C9-F2E2-7B42208C7C97}"/>
          </ac:graphicFrameMkLst>
        </pc:graphicFrameChg>
        <pc:graphicFrameChg chg="add mod modGraphic">
          <ac:chgData name="MTC-Presales 안남수" userId="830536ec-96eb-4152-83f9-b05e0ecaac42" providerId="ADAL" clId="{C0041557-B027-4094-89DA-296C8C5E80CE}" dt="2023-11-22T06:33:28.379" v="168" actId="1076"/>
          <ac:graphicFrameMkLst>
            <pc:docMk/>
            <pc:sldMk cId="45464010" sldId="535"/>
            <ac:graphicFrameMk id="9" creationId="{2C37FA01-A789-E159-1D0E-0331DACBFA67}"/>
          </ac:graphicFrameMkLst>
        </pc:graphicFrameChg>
        <pc:picChg chg="add del mod">
          <ac:chgData name="MTC-Presales 안남수" userId="830536ec-96eb-4152-83f9-b05e0ecaac42" providerId="ADAL" clId="{C0041557-B027-4094-89DA-296C8C5E80CE}" dt="2023-11-22T06:29:24.244" v="72" actId="478"/>
          <ac:picMkLst>
            <pc:docMk/>
            <pc:sldMk cId="45464010" sldId="535"/>
            <ac:picMk id="4" creationId="{D00B7019-7BCE-0CA6-FFCC-353470DF6EAC}"/>
          </ac:picMkLst>
        </pc:picChg>
        <pc:picChg chg="add mod">
          <ac:chgData name="MTC-Presales 안남수" userId="830536ec-96eb-4152-83f9-b05e0ecaac42" providerId="ADAL" clId="{C0041557-B027-4094-89DA-296C8C5E80CE}" dt="2023-11-22T06:29:27.835" v="74" actId="1076"/>
          <ac:picMkLst>
            <pc:docMk/>
            <pc:sldMk cId="45464010" sldId="535"/>
            <ac:picMk id="8" creationId="{116307D7-191F-6965-8C50-AB763723359C}"/>
          </ac:picMkLst>
        </pc:picChg>
      </pc:sldChg>
      <pc:sldChg chg="addSp delSp modSp mod">
        <pc:chgData name="MTC-Presales 안남수" userId="830536ec-96eb-4152-83f9-b05e0ecaac42" providerId="ADAL" clId="{C0041557-B027-4094-89DA-296C8C5E80CE}" dt="2023-11-22T07:10:00.768" v="835" actId="20577"/>
        <pc:sldMkLst>
          <pc:docMk/>
          <pc:sldMk cId="607418604" sldId="536"/>
        </pc:sldMkLst>
        <pc:spChg chg="add mod">
          <ac:chgData name="MTC-Presales 안남수" userId="830536ec-96eb-4152-83f9-b05e0ecaac42" providerId="ADAL" clId="{C0041557-B027-4094-89DA-296C8C5E80CE}" dt="2023-11-22T07:08:22.678" v="620" actId="1076"/>
          <ac:spMkLst>
            <pc:docMk/>
            <pc:sldMk cId="607418604" sldId="536"/>
            <ac:spMk id="5" creationId="{2674E183-EAF1-3312-ACB3-278F6492F6C9}"/>
          </ac:spMkLst>
        </pc:spChg>
        <pc:spChg chg="add mod">
          <ac:chgData name="MTC-Presales 안남수" userId="830536ec-96eb-4152-83f9-b05e0ecaac42" providerId="ADAL" clId="{C0041557-B027-4094-89DA-296C8C5E80CE}" dt="2023-11-22T07:08:39.929" v="666" actId="1036"/>
          <ac:spMkLst>
            <pc:docMk/>
            <pc:sldMk cId="607418604" sldId="536"/>
            <ac:spMk id="6" creationId="{DC3C3D08-115A-B0AE-360E-BAE3DE7B8D4D}"/>
          </ac:spMkLst>
        </pc:spChg>
        <pc:spChg chg="add mod">
          <ac:chgData name="MTC-Presales 안남수" userId="830536ec-96eb-4152-83f9-b05e0ecaac42" providerId="ADAL" clId="{C0041557-B027-4094-89DA-296C8C5E80CE}" dt="2023-11-22T07:08:39.929" v="666" actId="1036"/>
          <ac:spMkLst>
            <pc:docMk/>
            <pc:sldMk cId="607418604" sldId="536"/>
            <ac:spMk id="7" creationId="{1D06347B-3F40-9B3D-652E-7BEBF486F135}"/>
          </ac:spMkLst>
        </pc:spChg>
        <pc:spChg chg="add mod">
          <ac:chgData name="MTC-Presales 안남수" userId="830536ec-96eb-4152-83f9-b05e0ecaac42" providerId="ADAL" clId="{C0041557-B027-4094-89DA-296C8C5E80CE}" dt="2023-11-22T07:08:39.929" v="666" actId="1036"/>
          <ac:spMkLst>
            <pc:docMk/>
            <pc:sldMk cId="607418604" sldId="536"/>
            <ac:spMk id="8" creationId="{5CA826FE-6069-6308-8821-06C2F40F26C1}"/>
          </ac:spMkLst>
        </pc:spChg>
        <pc:spChg chg="add del mod">
          <ac:chgData name="MTC-Presales 안남수" userId="830536ec-96eb-4152-83f9-b05e0ecaac42" providerId="ADAL" clId="{C0041557-B027-4094-89DA-296C8C5E80CE}" dt="2023-11-22T07:08:32.924" v="621" actId="478"/>
          <ac:spMkLst>
            <pc:docMk/>
            <pc:sldMk cId="607418604" sldId="536"/>
            <ac:spMk id="9" creationId="{852EC471-DC8C-0C3F-F21B-2B5357239A21}"/>
          </ac:spMkLst>
        </pc:spChg>
        <pc:spChg chg="add mod">
          <ac:chgData name="MTC-Presales 안남수" userId="830536ec-96eb-4152-83f9-b05e0ecaac42" providerId="ADAL" clId="{C0041557-B027-4094-89DA-296C8C5E80CE}" dt="2023-11-22T07:09:55.998" v="829" actId="14100"/>
          <ac:spMkLst>
            <pc:docMk/>
            <pc:sldMk cId="607418604" sldId="536"/>
            <ac:spMk id="21" creationId="{C9F868AD-72A0-80DA-C029-762CC624D7D7}"/>
          </ac:spMkLst>
        </pc:spChg>
        <pc:spChg chg="add mod">
          <ac:chgData name="MTC-Presales 안남수" userId="830536ec-96eb-4152-83f9-b05e0ecaac42" providerId="ADAL" clId="{C0041557-B027-4094-89DA-296C8C5E80CE}" dt="2023-11-22T07:09:58.377" v="832" actId="20577"/>
          <ac:spMkLst>
            <pc:docMk/>
            <pc:sldMk cId="607418604" sldId="536"/>
            <ac:spMk id="22" creationId="{7031308A-F252-A8B7-3310-4A210469E4ED}"/>
          </ac:spMkLst>
        </pc:spChg>
        <pc:spChg chg="add mod">
          <ac:chgData name="MTC-Presales 안남수" userId="830536ec-96eb-4152-83f9-b05e0ecaac42" providerId="ADAL" clId="{C0041557-B027-4094-89DA-296C8C5E80CE}" dt="2023-11-22T07:10:00.768" v="835" actId="20577"/>
          <ac:spMkLst>
            <pc:docMk/>
            <pc:sldMk cId="607418604" sldId="536"/>
            <ac:spMk id="23" creationId="{0FD98FDD-95D3-23B9-4B4A-ACBE2C79508B}"/>
          </ac:spMkLst>
        </pc:spChg>
        <pc:cxnChg chg="add del mod">
          <ac:chgData name="MTC-Presales 안남수" userId="830536ec-96eb-4152-83f9-b05e0ecaac42" providerId="ADAL" clId="{C0041557-B027-4094-89DA-296C8C5E80CE}" dt="2023-11-22T07:06:34.595" v="548" actId="478"/>
          <ac:cxnSpMkLst>
            <pc:docMk/>
            <pc:sldMk cId="607418604" sldId="536"/>
            <ac:cxnSpMk id="11" creationId="{1F91FE4D-BB08-074B-B542-AA2384D25B51}"/>
          </ac:cxnSpMkLst>
        </pc:cxnChg>
        <pc:cxnChg chg="add mod">
          <ac:chgData name="MTC-Presales 안남수" userId="830536ec-96eb-4152-83f9-b05e0ecaac42" providerId="ADAL" clId="{C0041557-B027-4094-89DA-296C8C5E80CE}" dt="2023-11-22T07:08:39.929" v="666" actId="1036"/>
          <ac:cxnSpMkLst>
            <pc:docMk/>
            <pc:sldMk cId="607418604" sldId="536"/>
            <ac:cxnSpMk id="13" creationId="{CC288454-AEFC-443F-B480-EE4A9088A5D1}"/>
          </ac:cxnSpMkLst>
        </pc:cxnChg>
        <pc:cxnChg chg="add mod">
          <ac:chgData name="MTC-Presales 안남수" userId="830536ec-96eb-4152-83f9-b05e0ecaac42" providerId="ADAL" clId="{C0041557-B027-4094-89DA-296C8C5E80CE}" dt="2023-11-22T07:08:39.929" v="666" actId="1036"/>
          <ac:cxnSpMkLst>
            <pc:docMk/>
            <pc:sldMk cId="607418604" sldId="536"/>
            <ac:cxnSpMk id="15" creationId="{0F7FF2BE-AD31-8274-D6AE-53B5700AF7F9}"/>
          </ac:cxnSpMkLst>
        </pc:cxnChg>
        <pc:cxnChg chg="add mod">
          <ac:chgData name="MTC-Presales 안남수" userId="830536ec-96eb-4152-83f9-b05e0ecaac42" providerId="ADAL" clId="{C0041557-B027-4094-89DA-296C8C5E80CE}" dt="2023-11-22T07:08:39.929" v="666" actId="1036"/>
          <ac:cxnSpMkLst>
            <pc:docMk/>
            <pc:sldMk cId="607418604" sldId="536"/>
            <ac:cxnSpMk id="17" creationId="{4E95684D-C853-313C-FFC6-B0E4B5D71BF5}"/>
          </ac:cxnSpMkLst>
        </pc:cxnChg>
      </pc:sldChg>
      <pc:sldChg chg="del">
        <pc:chgData name="MTC-Presales 안남수" userId="830536ec-96eb-4152-83f9-b05e0ecaac42" providerId="ADAL" clId="{C0041557-B027-4094-89DA-296C8C5E80CE}" dt="2023-11-22T08:18:35.314" v="1190" actId="2696"/>
        <pc:sldMkLst>
          <pc:docMk/>
          <pc:sldMk cId="648135275" sldId="537"/>
        </pc:sldMkLst>
      </pc:sldChg>
      <pc:sldChg chg="add">
        <pc:chgData name="MTC-Presales 안남수" userId="830536ec-96eb-4152-83f9-b05e0ecaac42" providerId="ADAL" clId="{C0041557-B027-4094-89DA-296C8C5E80CE}" dt="2023-11-22T08:18:42.524" v="1191"/>
        <pc:sldMkLst>
          <pc:docMk/>
          <pc:sldMk cId="4072730598" sldId="537"/>
        </pc:sldMkLst>
      </pc:sldChg>
      <pc:sldChg chg="add">
        <pc:chgData name="MTC-Presales 안남수" userId="830536ec-96eb-4152-83f9-b05e0ecaac42" providerId="ADAL" clId="{C0041557-B027-4094-89DA-296C8C5E80CE}" dt="2023-11-22T08:18:42.524" v="1191"/>
        <pc:sldMkLst>
          <pc:docMk/>
          <pc:sldMk cId="467213112" sldId="538"/>
        </pc:sldMkLst>
      </pc:sldChg>
      <pc:sldChg chg="del">
        <pc:chgData name="MTC-Presales 안남수" userId="830536ec-96eb-4152-83f9-b05e0ecaac42" providerId="ADAL" clId="{C0041557-B027-4094-89DA-296C8C5E80CE}" dt="2023-11-22T08:18:35.314" v="1190" actId="2696"/>
        <pc:sldMkLst>
          <pc:docMk/>
          <pc:sldMk cId="1996289880" sldId="538"/>
        </pc:sldMkLst>
      </pc:sldChg>
      <pc:sldChg chg="del">
        <pc:chgData name="MTC-Presales 안남수" userId="830536ec-96eb-4152-83f9-b05e0ecaac42" providerId="ADAL" clId="{C0041557-B027-4094-89DA-296C8C5E80CE}" dt="2023-11-22T08:18:35.314" v="1190" actId="2696"/>
        <pc:sldMkLst>
          <pc:docMk/>
          <pc:sldMk cId="911914092" sldId="539"/>
        </pc:sldMkLst>
      </pc:sldChg>
      <pc:sldChg chg="add">
        <pc:chgData name="MTC-Presales 안남수" userId="830536ec-96eb-4152-83f9-b05e0ecaac42" providerId="ADAL" clId="{C0041557-B027-4094-89DA-296C8C5E80CE}" dt="2023-11-22T08:18:42.524" v="1191"/>
        <pc:sldMkLst>
          <pc:docMk/>
          <pc:sldMk cId="3155595425" sldId="539"/>
        </pc:sldMkLst>
      </pc:sldChg>
      <pc:sldChg chg="del">
        <pc:chgData name="MTC-Presales 안남수" userId="830536ec-96eb-4152-83f9-b05e0ecaac42" providerId="ADAL" clId="{C0041557-B027-4094-89DA-296C8C5E80CE}" dt="2023-11-22T08:18:35.314" v="1190" actId="2696"/>
        <pc:sldMkLst>
          <pc:docMk/>
          <pc:sldMk cId="846788323" sldId="540"/>
        </pc:sldMkLst>
      </pc:sldChg>
      <pc:sldChg chg="add">
        <pc:chgData name="MTC-Presales 안남수" userId="830536ec-96eb-4152-83f9-b05e0ecaac42" providerId="ADAL" clId="{C0041557-B027-4094-89DA-296C8C5E80CE}" dt="2023-11-22T08:18:42.524" v="1191"/>
        <pc:sldMkLst>
          <pc:docMk/>
          <pc:sldMk cId="4095331888" sldId="540"/>
        </pc:sldMkLst>
      </pc:sldChg>
      <pc:sldChg chg="addSp delSp modSp mod">
        <pc:chgData name="MTC-Presales 안남수" userId="830536ec-96eb-4152-83f9-b05e0ecaac42" providerId="ADAL" clId="{C0041557-B027-4094-89DA-296C8C5E80CE}" dt="2023-11-23T01:23:33.169" v="1614" actId="20577"/>
        <pc:sldMkLst>
          <pc:docMk/>
          <pc:sldMk cId="1058010262" sldId="541"/>
        </pc:sldMkLst>
        <pc:spChg chg="mod">
          <ac:chgData name="MTC-Presales 안남수" userId="830536ec-96eb-4152-83f9-b05e0ecaac42" providerId="ADAL" clId="{C0041557-B027-4094-89DA-296C8C5E80CE}" dt="2023-11-23T01:23:33.169" v="1614" actId="20577"/>
          <ac:spMkLst>
            <pc:docMk/>
            <pc:sldMk cId="1058010262" sldId="541"/>
            <ac:spMk id="2" creationId="{34F93088-BD15-8D6C-8DFC-69145670D1A8}"/>
          </ac:spMkLst>
        </pc:spChg>
        <pc:spChg chg="add del mod">
          <ac:chgData name="MTC-Presales 안남수" userId="830536ec-96eb-4152-83f9-b05e0ecaac42" providerId="ADAL" clId="{C0041557-B027-4094-89DA-296C8C5E80CE}" dt="2023-11-22T07:03:56.344" v="486" actId="478"/>
          <ac:spMkLst>
            <pc:docMk/>
            <pc:sldMk cId="1058010262" sldId="541"/>
            <ac:spMk id="5" creationId="{6CBD24C9-6DF1-89EC-10D5-9C974546D1A1}"/>
          </ac:spMkLst>
        </pc:spChg>
        <pc:spChg chg="add mod">
          <ac:chgData name="MTC-Presales 안남수" userId="830536ec-96eb-4152-83f9-b05e0ecaac42" providerId="ADAL" clId="{C0041557-B027-4094-89DA-296C8C5E80CE}" dt="2023-11-22T07:03:48.439" v="485"/>
          <ac:spMkLst>
            <pc:docMk/>
            <pc:sldMk cId="1058010262" sldId="541"/>
            <ac:spMk id="6" creationId="{F7574B21-8FE7-9220-8AB2-344601BDA17D}"/>
          </ac:spMkLst>
        </pc:spChg>
      </pc:sldChg>
      <pc:sldChg chg="addSp delSp modSp mod">
        <pc:chgData name="MTC-Presales 안남수" userId="830536ec-96eb-4152-83f9-b05e0ecaac42" providerId="ADAL" clId="{C0041557-B027-4094-89DA-296C8C5E80CE}" dt="2023-11-22T08:16:54.340" v="1189" actId="1035"/>
        <pc:sldMkLst>
          <pc:docMk/>
          <pc:sldMk cId="2704548212" sldId="546"/>
        </pc:sldMkLst>
        <pc:spChg chg="mod">
          <ac:chgData name="MTC-Presales 안남수" userId="830536ec-96eb-4152-83f9-b05e0ecaac42" providerId="ADAL" clId="{C0041557-B027-4094-89DA-296C8C5E80CE}" dt="2023-11-22T07:58:14.030" v="1049" actId="1076"/>
          <ac:spMkLst>
            <pc:docMk/>
            <pc:sldMk cId="2704548212" sldId="546"/>
            <ac:spMk id="3" creationId="{576FB666-412A-F618-5AA2-24E7A60FEA45}"/>
          </ac:spMkLst>
        </pc:spChg>
        <pc:graphicFrameChg chg="add del mod modGraphic">
          <ac:chgData name="MTC-Presales 안남수" userId="830536ec-96eb-4152-83f9-b05e0ecaac42" providerId="ADAL" clId="{C0041557-B027-4094-89DA-296C8C5E80CE}" dt="2023-11-22T07:58:15.760" v="1050" actId="21"/>
          <ac:graphicFrameMkLst>
            <pc:docMk/>
            <pc:sldMk cId="2704548212" sldId="546"/>
            <ac:graphicFrameMk id="5" creationId="{C04610B1-3F32-DDB3-E1DA-F3C242B63C8F}"/>
          </ac:graphicFrameMkLst>
        </pc:graphicFrameChg>
        <pc:picChg chg="add del mod">
          <ac:chgData name="MTC-Presales 안남수" userId="830536ec-96eb-4152-83f9-b05e0ecaac42" providerId="ADAL" clId="{C0041557-B027-4094-89DA-296C8C5E80CE}" dt="2023-11-22T08:01:00.185" v="1088" actId="478"/>
          <ac:picMkLst>
            <pc:docMk/>
            <pc:sldMk cId="2704548212" sldId="546"/>
            <ac:picMk id="4" creationId="{35E8A741-EE67-823E-2E2F-9C8AB9BE70E7}"/>
          </ac:picMkLst>
        </pc:picChg>
        <pc:picChg chg="add del">
          <ac:chgData name="MTC-Presales 안남수" userId="830536ec-96eb-4152-83f9-b05e0ecaac42" providerId="ADAL" clId="{C0041557-B027-4094-89DA-296C8C5E80CE}" dt="2023-11-22T08:00:35.059" v="1086" actId="22"/>
          <ac:picMkLst>
            <pc:docMk/>
            <pc:sldMk cId="2704548212" sldId="546"/>
            <ac:picMk id="7" creationId="{1A7414F0-F12D-D216-3003-9709F6D84DAC}"/>
          </ac:picMkLst>
        </pc:picChg>
        <pc:picChg chg="add mod">
          <ac:chgData name="MTC-Presales 안남수" userId="830536ec-96eb-4152-83f9-b05e0ecaac42" providerId="ADAL" clId="{C0041557-B027-4094-89DA-296C8C5E80CE}" dt="2023-11-22T08:16:54.340" v="1189" actId="1035"/>
          <ac:picMkLst>
            <pc:docMk/>
            <pc:sldMk cId="2704548212" sldId="546"/>
            <ac:picMk id="9" creationId="{5BE8674A-5EFB-6903-2A6B-A33BC8B62841}"/>
          </ac:picMkLst>
        </pc:picChg>
      </pc:sldChg>
      <pc:sldChg chg="addSp modSp mod">
        <pc:chgData name="MTC-Presales 안남수" userId="830536ec-96eb-4152-83f9-b05e0ecaac42" providerId="ADAL" clId="{C0041557-B027-4094-89DA-296C8C5E80CE}" dt="2023-11-22T08:01:47.431" v="1093" actId="1076"/>
        <pc:sldMkLst>
          <pc:docMk/>
          <pc:sldMk cId="3899053375" sldId="547"/>
        </pc:sldMkLst>
        <pc:spChg chg="add mod">
          <ac:chgData name="MTC-Presales 안남수" userId="830536ec-96eb-4152-83f9-b05e0ecaac42" providerId="ADAL" clId="{C0041557-B027-4094-89DA-296C8C5E80CE}" dt="2023-11-22T07:03:27.695" v="484" actId="20577"/>
          <ac:spMkLst>
            <pc:docMk/>
            <pc:sldMk cId="3899053375" sldId="547"/>
            <ac:spMk id="4" creationId="{81C1D9EE-BBD3-B7EE-86F8-8D156404D49F}"/>
          </ac:spMkLst>
        </pc:spChg>
        <pc:graphicFrameChg chg="add mod modGraphic">
          <ac:chgData name="MTC-Presales 안남수" userId="830536ec-96eb-4152-83f9-b05e0ecaac42" providerId="ADAL" clId="{C0041557-B027-4094-89DA-296C8C5E80CE}" dt="2023-11-22T08:01:47.431" v="1093" actId="1076"/>
          <ac:graphicFrameMkLst>
            <pc:docMk/>
            <pc:sldMk cId="3899053375" sldId="547"/>
            <ac:graphicFrameMk id="5" creationId="{768AB5A1-26AB-7F6F-E063-D8056BE16893}"/>
          </ac:graphicFrameMkLst>
        </pc:graphicFrameChg>
      </pc:sldChg>
      <pc:sldChg chg="addSp modSp mod">
        <pc:chgData name="MTC-Presales 안남수" userId="830536ec-96eb-4152-83f9-b05e0ecaac42" providerId="ADAL" clId="{C0041557-B027-4094-89DA-296C8C5E80CE}" dt="2023-11-22T08:01:59.744" v="1095" actId="14100"/>
        <pc:sldMkLst>
          <pc:docMk/>
          <pc:sldMk cId="2724429287" sldId="548"/>
        </pc:sldMkLst>
        <pc:graphicFrameChg chg="add mod modGraphic">
          <ac:chgData name="MTC-Presales 안남수" userId="830536ec-96eb-4152-83f9-b05e0ecaac42" providerId="ADAL" clId="{C0041557-B027-4094-89DA-296C8C5E80CE}" dt="2023-11-22T08:01:59.744" v="1095" actId="14100"/>
          <ac:graphicFrameMkLst>
            <pc:docMk/>
            <pc:sldMk cId="2724429287" sldId="548"/>
            <ac:graphicFrameMk id="4" creationId="{55C98221-51E7-A086-5753-A2DA06670E2C}"/>
          </ac:graphicFrameMkLst>
        </pc:graphicFrameChg>
      </pc:sldChg>
      <pc:sldChg chg="modSp">
        <pc:chgData name="MTC-Presales 안남수" userId="830536ec-96eb-4152-83f9-b05e0ecaac42" providerId="ADAL" clId="{C0041557-B027-4094-89DA-296C8C5E80CE}" dt="2023-11-22T07:04:55.299" v="494" actId="14100"/>
        <pc:sldMkLst>
          <pc:docMk/>
          <pc:sldMk cId="4266242151" sldId="553"/>
        </pc:sldMkLst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4" creationId="{8D965607-69BE-CA96-E987-FEE936C2EC9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7" creationId="{A41C71DC-DEBC-C719-4619-BECBF1328FF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8" creationId="{BE6124AF-C69E-57CF-9060-ECF0193F085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" creationId="{2EF06580-5283-69AC-BCD2-D29F2C04727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" creationId="{3194981F-6775-4B68-5403-0C1672C16DE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3" creationId="{E277A8F7-20F9-44F5-9E41-FD0AFDAC09E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5" creationId="{08696C02-4C51-4888-D1DB-B99718A12CE6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8" creationId="{6631A696-7721-C301-6E63-CEC1FCA3032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" creationId="{2835B1EF-5801-F14D-000F-E069761694D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" creationId="{7E213C34-D8C1-0711-2BEF-99E9C39990F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" creationId="{DFB97069-C82C-33BB-D02F-E9A3DE33199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" creationId="{E0335E03-F829-3DE9-F8F6-ED60E1CBC5A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" creationId="{3DB70704-6DD6-6E0A-EC6C-31721482FAE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1" creationId="{DBC0C713-7DE3-B799-CEBE-3DD00F1CF5D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2" creationId="{23030873-4E56-2EF6-84DE-351F164AC6F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3" creationId="{68F11E52-1044-B13D-80D3-24668E94826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7" creationId="{92BC97B3-066A-DED5-93A9-8338A408A11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8" creationId="{D4FB6972-61EB-AE0F-58A2-B86DA300425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41" creationId="{9809611F-2EC4-5754-79FD-BA2DEAEC07F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42" creationId="{FF93E140-FAF1-534A-2F86-93FC1140670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43" creationId="{A7C1B97F-1420-BE4F-2398-705414C3CCE6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49" creationId="{2DF77AFB-801E-56A3-0D06-382EE5E9E3D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0" creationId="{5A346714-54C1-8293-791C-649AA01AF72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1" creationId="{59C1BA35-6475-A725-4ABB-BD7D2F04A02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3" creationId="{C504B50B-54BC-F3FD-4B38-0C0D567AA04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4" creationId="{964A7B14-3281-6C85-B4A7-5B50893E167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5" creationId="{21734F17-A662-5410-C1B8-2A7B6E19EFF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6" creationId="{D70B001D-BDD8-3621-A56A-088543776076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57" creationId="{C723434B-3FB0-4B9F-0453-CA4B0063DE4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1" creationId="{A3F276CC-1B1C-027A-A68A-3B5416AA8C8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2" creationId="{2FA666F1-4F6F-BBD4-DB0D-FE51070C007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3" creationId="{926E745E-11C1-9911-2490-CB08EE0BB5E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4" creationId="{92AA8561-5EA8-A120-AFD7-923002C400E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5" creationId="{E8E7743A-95C0-E1FD-8863-C09C68F4878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7" creationId="{D5AF0D3B-8EBB-21D9-F833-BADEBFF8F6E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8" creationId="{361C7674-EFF6-9BC6-77B5-9DBAF4FDC21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69" creationId="{8B223029-DF4C-906D-07AB-ED3520BBD72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70" creationId="{4554A7C0-BF2E-1751-0F33-32FCE176B1E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73" creationId="{800E9701-F02B-FA0D-364D-9492696BBC3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74" creationId="{06438B98-053A-93F8-5BD9-C7EA60BBDCE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75" creationId="{2CDDFBDF-70C9-BA59-7BA6-946F0F97E23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76" creationId="{9B7EAA7C-C139-122B-319D-4CE5DEBFA66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88" creationId="{57AF7C1E-2828-EF1F-025E-0B26AAC95FB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89" creationId="{E3750E9A-102E-8350-6E5B-2D312C753A4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90" creationId="{77C2BA41-343F-821B-A23D-6CE1E21DC03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91" creationId="{36BF0B22-002A-5147-64D5-827025C0AD5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92" creationId="{8F9E6F13-27C2-8EA8-F5C3-05AFDC82C09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93" creationId="{A74BDE3F-7E4A-4E83-9E41-18F0A4C0BB4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94" creationId="{477FFDAC-A96B-84DA-6139-6106761D6F1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95" creationId="{4EAEB732-99FB-861A-07CD-E8064BE0F5E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04" creationId="{2D47AAB2-372F-1372-CDDA-0A4E5098769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05" creationId="{44815AD3-C0EE-F7BF-1CBF-EF8C704F897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06" creationId="{0C2B243B-5E20-F017-DC13-4D762B15AE92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07" creationId="{9E400C14-BD92-0E5D-A511-80346E28739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08" creationId="{3126292C-A2DB-9A05-9440-6B4446336FB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09" creationId="{917E3B1E-4025-B32E-B089-B3B312029062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1" creationId="{B64AB851-9497-3F19-516D-C021D353419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5" creationId="{70712A2F-D674-6A87-7439-0BFD8B62991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6" creationId="{8B2A4007-EBC0-94EB-B794-7674880B2B7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7" creationId="{6A3D77B7-9D9E-A0C4-5F27-A8E4A8B07526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8" creationId="{63B09463-BBBE-6F4C-267E-3A7CC962CAA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19" creationId="{B4CBAC8F-8607-15B1-DD11-86813B4E9B6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0" creationId="{F61D719E-8D2C-475D-E8EB-8B048596E80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1" creationId="{F16859AE-F250-1847-D261-984DD102181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2" creationId="{FDF6ED2D-6A44-2EE4-A639-D3F8A115053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3" creationId="{05EEC589-CB48-8843-087C-AC949089F92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4" creationId="{FC327CE9-3E49-3F45-A35F-BE251D3CC366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5" creationId="{EAD9F599-BFBE-74D8-2413-98E249B5D1F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6" creationId="{0A085774-D134-E4AA-9E97-6D0C5831A1B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7" creationId="{FE3900A3-34B9-34ED-385C-EDE56C287E1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8" creationId="{BD5F9FA8-7927-BF98-402C-E2F567D39A1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29" creationId="{45DCD41D-FD86-375E-7F0C-A0FD15CC83A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30" creationId="{21499709-F016-FBEC-627B-17192FC5EB0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31" creationId="{B98A5860-DBBE-3A7F-54DC-D7417C9A2E8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43" creationId="{A119EC3C-A0A3-6A0F-4A6D-DEEEF2A06D6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46" creationId="{891AB066-EA99-3791-4925-2E272EEBEEF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53" creationId="{6B0D9E5E-CE4C-D37D-520F-EB2D9840C34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54" creationId="{40461EAE-5BF4-2EC5-F11E-6F28A82FAC4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55" creationId="{73A5AFA4-5615-A49B-3A3B-BA865C46378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59" creationId="{8F7B4CDF-6A16-F6C2-B09B-78D5876249B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60" creationId="{A304CA91-760B-EA54-7A9F-E6A4986A8DF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61" creationId="{39CE3791-A988-4DAE-7407-86371D2AECE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62" creationId="{28CC03F0-3890-853B-9688-CFFD51D1E27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63" creationId="{EE0E09CB-0234-E675-24EA-CFC6036EC51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64" creationId="{A164AF78-586D-235C-E1DD-79CB77BD8F3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1" creationId="{4673CFC6-0999-76B3-F3C8-5FE33E1C189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2" creationId="{4175F1CB-11E2-6C4E-4B0D-480E32CBCF1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3" creationId="{816B6B4D-6E0B-EC08-5C67-9FE3FCD91A9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4" creationId="{591EEFE0-CA55-1AA5-E7BC-03940FC07A5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5" creationId="{EB887A2B-D431-3A12-244B-14257E97DCE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6" creationId="{C10D07B4-1DE1-4E79-7196-EC0CBAEB817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7" creationId="{AA1C9896-2200-674B-A2CC-3B60DBDF2F9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198" creationId="{22E873AF-D850-6613-B61A-9A59F93B08F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0" creationId="{47208A0C-913E-E6D8-6783-95DD259454C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1" creationId="{6D3B581B-1134-9899-C985-1D01B0115F9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2" creationId="{9DE1E219-7E99-F2A5-C593-A1618CD2291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3" creationId="{CC5B81EA-76BA-7FCC-CCDE-F3DC2EE7845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4" creationId="{18B96BB1-0CAD-C880-403F-48116976113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5" creationId="{11201597-04D9-1F92-1187-39AB64FEDEE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6" creationId="{46DE80CB-D793-2BDA-D5DE-90A68D88352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7" creationId="{6FD6BFAF-67D0-71EE-B5D4-728F5B5AA90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8" creationId="{B7A0AD46-9AE0-4623-1BF1-451E678135A2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09" creationId="{4B2DD277-6745-FA01-2362-F78094543B3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1" creationId="{006BB0CD-5910-7243-E22D-8B75CEE706C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3" creationId="{44E64C40-C4CB-6710-30D6-73DC3B08894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4" creationId="{21C0F10A-5D5C-5BAC-AFF9-F88B50360992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5" creationId="{7311D1B7-112C-0EF7-0DC1-D8C1E14875F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6" creationId="{78F5AC4D-0290-11C7-9056-9C589136E37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7" creationId="{A14EC1DD-4D51-57F2-8480-8E3E5FFA0F4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8" creationId="{A2CE1925-5A18-20EA-3880-D56C2B28578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19" creationId="{B20CEB2B-70F1-FAD6-A046-532D3433173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0" creationId="{5678773B-A9B1-41B7-F10B-B7971511D18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1" creationId="{8463AD2F-4192-2A8E-5E7B-96ACE39668E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2" creationId="{D3221DCC-C2B0-89FC-6040-8F7D6EE1FEF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3" creationId="{D1D3025E-94A7-64BE-6302-453915D288B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4" creationId="{924CCCFA-7A8E-A1AB-C982-2CE382D8DB4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5" creationId="{81909EF2-377D-C84F-EAFB-8AC597B4835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6" creationId="{2A4502F2-66E8-0681-6D7B-E0B39AC88966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7" creationId="{D71D9C8F-8899-1CE3-305D-1F776967A16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8" creationId="{FA150D6B-160E-B500-4C02-A856567C5EF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29" creationId="{0BE0E3DA-30AC-E80A-F516-F087EE7432A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0" creationId="{2BD7D651-2271-4FAB-630B-35385CD10FA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1" creationId="{DAFBDB97-5AA2-75D0-A821-188480CF730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2" creationId="{71DB7DAD-CDA8-1694-F89E-4F9E00550DD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3" creationId="{76E95F42-43DD-CC57-CF5E-44AD4CD40F5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4" creationId="{B0945EF2-0687-9235-1E2D-CAA9C59475A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5" creationId="{F39EFAB0-6EE9-646F-1E4B-DF6B367E6B0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6" creationId="{E67B7CE2-EDE6-22F1-E727-6DD18DF9835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7" creationId="{63C89B52-0769-EBD1-3BB4-B80A68BE3BC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8" creationId="{BA6E280E-DC99-01D9-E583-D49B9A478E1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39" creationId="{9DA39282-BADA-4E21-3578-032B7360BBE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0" creationId="{84159629-6237-607A-8DC9-84D5DD94511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1" creationId="{EA059603-5149-DD9C-DFFB-3D6C2B8F451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2" creationId="{2DFCC1DF-F3C3-9A2B-512E-2B9B7F4E8A7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3" creationId="{F3AFA3A5-B075-1E8A-9B8B-073E3B8C3EA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4" creationId="{20583A29-128C-A1D1-6F8A-7439412F523E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5" creationId="{A0448617-E492-7AD4-C2B7-1B22599E718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6" creationId="{620CF064-710C-3D63-4E61-56D8D69DEBA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7" creationId="{C16D91D3-4A01-B8A1-265E-13301658E56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8" creationId="{0E8E727D-696E-1389-3590-422D9B4F96B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49" creationId="{9335B318-8861-71DB-2764-5F034857FC8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0" creationId="{1F8B0F0A-BB49-F69C-2A3E-74519C7543B4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1" creationId="{58D4B81B-7C87-5FEB-CF72-7A690511A52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3" creationId="{2310B423-AD4D-34FD-19A5-2228DA8E861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4" creationId="{36C9AB52-547A-0D3B-D0BA-011C538471D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5" creationId="{0B7C7444-2E1E-4C54-F361-771A8050D38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6" creationId="{7E21C3A3-CEB8-0225-600B-B74FFCFF34D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7" creationId="{9E165792-ED1C-686B-5F78-37B12018A5C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8" creationId="{421769D6-1BE8-41E1-B9D7-F0E52131176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59" creationId="{8D407931-3B60-BD13-BB83-03F4363ABB9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0" creationId="{E2C12D0D-0553-0F0F-6A87-FA8089F6EBD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1" creationId="{CB1DF9B2-BFBD-8F52-FF41-A27638E0EDC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2" creationId="{C79A90BD-DEDD-8891-93F7-D175E012DEF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3" creationId="{8D2B3F17-CA79-7534-D0E2-64B04FF9E1C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4" creationId="{A81BDCFB-A9A8-DED3-B235-078A702E85CA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65" creationId="{EC4B42E1-473B-5234-D0C3-67AF22B26EF1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70" creationId="{03CED595-3883-05F3-BB8F-6D8728ED4F2D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75" creationId="{04E397F6-4EF4-7A2B-F884-F51D680E047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77" creationId="{46938D11-05B7-79C0-2C41-3FC9A9F98BB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78" creationId="{088D7A0F-DF74-7D32-DEB1-656DFCC3ACF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79" creationId="{BA494A5C-F47F-7FC5-B779-DD2B2D103EB9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80" creationId="{4B20C912-EB68-F418-C6BE-DE71D0EEC3D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81" creationId="{47C29EAE-D30E-D8BC-24EC-01509C47CB0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87" creationId="{2ACEA747-444E-7F55-4764-B9948038227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89" creationId="{51419139-1966-2CA7-EDB8-2B681062B10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93" creationId="{3AB69CD6-F273-F098-C767-E7619B4296DC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94" creationId="{0701865E-3312-C341-1250-B290429B7B1B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95" creationId="{5D1C1D0F-252F-0D04-3C70-70502D693EC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299" creationId="{49036D86-C0E7-B846-4223-2AA5EF5808C5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00" creationId="{1996F801-69CA-E01B-CE3A-CF7B56E345D8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01" creationId="{24CD0B0D-E034-DBA4-1B03-F3145E631F67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02" creationId="{D0F22ABF-B0D2-0888-A21B-2265275E7BAF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03" creationId="{7B9FB865-05D6-CB32-BD95-CD6832EFEA60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04" creationId="{98B5A6F4-3F35-086C-9DF6-8D3234DDBE63}"/>
          </ac:spMkLst>
        </pc:spChg>
        <pc:spChg chg="mod">
          <ac:chgData name="MTC-Presales 안남수" userId="830536ec-96eb-4152-83f9-b05e0ecaac42" providerId="ADAL" clId="{C0041557-B027-4094-89DA-296C8C5E80CE}" dt="2023-11-22T07:04:55.299" v="494" actId="14100"/>
          <ac:spMkLst>
            <pc:docMk/>
            <pc:sldMk cId="4266242151" sldId="553"/>
            <ac:spMk id="305" creationId="{2F9E26D7-F2CB-77CF-C4A7-5B993670D30A}"/>
          </ac:spMkLst>
        </pc:spChg>
        <pc:grpChg chg="mod">
          <ac:chgData name="MTC-Presales 안남수" userId="830536ec-96eb-4152-83f9-b05e0ecaac42" providerId="ADAL" clId="{C0041557-B027-4094-89DA-296C8C5E80CE}" dt="2023-11-22T07:04:55.299" v="494" actId="14100"/>
          <ac:grpSpMkLst>
            <pc:docMk/>
            <pc:sldMk cId="4266242151" sldId="553"/>
            <ac:grpSpMk id="306" creationId="{5C0CBC24-4035-E503-3735-36AF177AB3A3}"/>
          </ac:grpSpMkLst>
        </pc:grp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6" creationId="{2B03CF91-BD65-7FC6-0D37-2707F317F5A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9" creationId="{7B259D50-07F4-23B4-31D5-5005B023810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0" creationId="{07D97697-3D1F-CBA2-5B60-26129BBE9AE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6" creationId="{C0EC20D2-CF44-99F9-5B46-5915EBF14EC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" creationId="{E58DF040-ECCB-82DE-E037-35DA6B7CF6C5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3" creationId="{0F980590-E7FB-2FBC-2F29-C34579D2F8FD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4" creationId="{55AE43A3-BF95-7992-DF76-0F67A5DE9BF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" creationId="{8D49D1B5-C9BD-37B3-1C8F-DC8B6504111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30" creationId="{37FD22D9-24D7-A3B1-7BCE-143F2D99E4CD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39" creationId="{696B0992-C5A9-60F4-D81E-5B0C1FD70D5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40" creationId="{F147AE9C-62B9-74D4-329F-0FA30047BD0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45" creationId="{FBA73F73-3D57-53B1-9704-8F1175FE70E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52" creationId="{175D9B5B-BE6E-FC0A-FFA3-E54D2DB9D07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58" creationId="{9C917E97-5484-6A71-E574-7FFA8CBAB5F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59" creationId="{D8F53636-5E91-1BD4-64B7-91A0AF8E9FE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60" creationId="{F07DDAC8-B2C7-ACCE-CE01-212B2696446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66" creationId="{7BCB97AC-B7B0-246E-0A84-E7F2F0D13261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71" creationId="{2122804F-1ED4-FF59-2610-A75DE07F82C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72" creationId="{A9524F9A-1CB8-68D6-2AB5-9D80D71E0E1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78" creationId="{51D3B51D-BC89-36FD-8C56-9C93BA0E89F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0" creationId="{CCD21352-8F31-AA83-663C-BAA1A20EBF3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1" creationId="{698B3116-F5EF-5ECE-B5D8-78E510A5F7F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2" creationId="{732C864A-5929-64F6-3A38-27FA393D0D4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3" creationId="{8A41C422-C582-F785-C52C-8A2DA6E5910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4" creationId="{8D8C8761-43D6-DC7D-C6EF-743F8ACC567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5" creationId="{C66BE7FE-BBCB-9D5B-FDC7-C8F8FEDE3832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6" creationId="{5174E28E-96B1-A080-333A-2A2C3920E3B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87" creationId="{1D7B48E8-8FAA-67CC-4AB7-BE6AF568D065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96" creationId="{08347F57-DF0B-E35D-59D0-C255D491D01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97" creationId="{6451FA0A-867C-084B-FDD7-3FCF4B987F7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98" creationId="{CC82AE96-DFE6-CBA4-DFAB-DD7CEB8C7F11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99" creationId="{C172B319-6BB1-D527-9BE0-90BD0D4A516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00" creationId="{521F3665-496E-8BA0-CBA5-627835D545F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01" creationId="{DCEAF43F-4459-5395-9E74-7C8A2BAEB08A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02" creationId="{21428ECC-17A6-91CB-CB5D-D11AFFD319E4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03" creationId="{E994831D-3A2E-B497-63F3-815BBE450ED7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10" creationId="{E0FC9D10-A555-B6B8-85DC-A657C3099407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12" creationId="{08F6910F-B51D-1408-4877-F3D2A9FA342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13" creationId="{22F908B4-B5DD-E7E7-4A5C-9466C9461D9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14" creationId="{E346CA50-A27B-E297-74F4-21AC6342689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2" creationId="{73DE59D0-E79A-3B57-ACE2-9CA8128DDA9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3" creationId="{6E03F30D-5CBE-0DF1-BD34-C2C9AA34FC87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4" creationId="{6794AF74-C637-12E3-C3A8-87FEB2C6C84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5" creationId="{EA9E1D2C-099E-CD71-4348-353EE7DB613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6" creationId="{2DD28BCA-F70A-A010-BC6B-81B04BB3603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7" creationId="{410D6CD4-EB55-AD55-D42D-AD7CE2B5236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8" creationId="{4DBF0144-4328-B152-FDAA-168957651D2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39" creationId="{5CDCE572-EAF0-BC52-BC9D-4E491BD2B947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0" creationId="{CFA47317-E630-D295-C4A9-AA2239D9FCC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1" creationId="{54440C00-E9AB-133B-E56C-89277EA5548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2" creationId="{F837F824-6511-6154-5A49-EC03C11D4A78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4" creationId="{7995EDAC-13CD-6EC3-A608-D259C7B02C22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5" creationId="{D0EEF4D4-9AB4-80F0-644A-1E21813AFA1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7" creationId="{2B888DAB-EC1C-C663-A812-7D16817F338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8" creationId="{163E330B-4182-8481-E59F-838A5144E992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49" creationId="{52FD9423-CF3B-8639-B869-87C7C69D8B3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50" creationId="{291F063E-34E7-6554-C4CC-0DC57B50C1C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51" creationId="{AF0F495E-5F58-E127-CEF5-684FD9658E88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52" creationId="{0714B065-CE6B-3ADE-336F-B52E2A76107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56" creationId="{9EA7E717-128C-F32A-E90B-80B8CC4B9C3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57" creationId="{C2CA7C1F-375E-55F0-2D39-FEEDB2FD2A6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58" creationId="{E4A785BD-87A3-B08B-98B1-8FDE97E6D858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65" creationId="{5C6CD47D-D63B-9540-FE00-B6039689374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66" creationId="{EA3946CE-C456-1058-65F8-5EF98E679EB4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67" creationId="{9FF70E01-6C89-DCFB-AAA7-A7C0188CAF72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68" creationId="{7F9D9D4B-F309-0BB3-610A-CD70D37D6FE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69" creationId="{256BF4D9-C34E-647E-CC77-02E3D5E9B998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0" creationId="{64279897-BF3F-B7C9-9967-94E668A6FCB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1" creationId="{F6B46662-DEC3-0BA3-2F39-8DB17968ABC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2" creationId="{23FA3647-CB12-C8E5-6A52-5197104711B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3" creationId="{8BD8BBC1-691A-423E-C2AE-943D460021D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4" creationId="{437B3F05-51DF-54EE-598A-ED3DCF1A92F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5" creationId="{4C18BE18-D85E-0319-D29C-20A5CF99F13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6" creationId="{212011A3-BA43-B85B-2231-9F4C71F9C25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7" creationId="{84350E64-09DB-100B-BDDD-0ADE8CB28AED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8" creationId="{69867B5E-E72C-7C62-82CA-7C815E517938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79" creationId="{FCA2E8D6-ABC9-0547-1C65-147C9A17463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0" creationId="{D9A56100-AD45-3250-3F59-C57F3C385B32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1" creationId="{26F1A777-C18C-43C6-BBB2-F78E05C103F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2" creationId="{2A3247E4-CA94-4C9F-BE26-5279EFB50480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3" creationId="{82831C37-BF8C-542A-2F63-8F3DA9E6159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4" creationId="{1FEED970-0325-821A-A201-39B993DB60D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5" creationId="{1E987479-B73F-9995-EB0C-B9F778D444DE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6" creationId="{FCC12F41-B346-E170-D368-F4A309EFE9C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7" creationId="{6FAA7A2E-D6B9-F279-68C2-F7B9530963C3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8" creationId="{BDCD5CEE-DA85-5EDA-42B1-B4B673E0E552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89" creationId="{78FAB1D0-D690-B870-A03E-B6601887EBDD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90" creationId="{06F28C3E-9EE6-0361-8BB1-0D93E37F01F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199" creationId="{44EEC670-8DAE-6F7F-77C9-DAC7EC4E210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10" creationId="{E879BFF8-D0A4-E1D3-0DC7-3F7DD6610EF5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12" creationId="{41AA03A4-4A0F-EF59-C26C-222CFA20071D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52" creationId="{C49538F0-E9C9-58A0-30CE-965F5CF164D9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82" creationId="{78131B0F-7A24-1425-7E97-A3153556421B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84" creationId="{021FE95F-96A2-22B3-C0A9-18A5548E7AD4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0" creationId="{3B6A877E-6E76-725C-2F81-1C62147FB40C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1" creationId="{7515A239-3656-312A-33C9-CC8AC9459FE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2" creationId="{A1F1BA17-D3EB-0945-AC1F-090315E47C66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6" creationId="{F1282783-665B-D002-3127-6D8650BE4C4F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7" creationId="{E61A4A48-1C71-62D8-06FB-B0553B236B95}"/>
          </ac:picMkLst>
        </pc:picChg>
        <pc:picChg chg="mod">
          <ac:chgData name="MTC-Presales 안남수" userId="830536ec-96eb-4152-83f9-b05e0ecaac42" providerId="ADAL" clId="{C0041557-B027-4094-89DA-296C8C5E80CE}" dt="2023-11-22T07:04:55.299" v="494" actId="14100"/>
          <ac:picMkLst>
            <pc:docMk/>
            <pc:sldMk cId="4266242151" sldId="553"/>
            <ac:picMk id="298" creationId="{3EC594D9-3633-7A31-B3E4-B32BCD6E94C7}"/>
          </ac:picMkLst>
        </pc:pic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5" creationId="{177F5B43-64C1-04F8-9F7A-3DB4AA427031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14" creationId="{84ADE548-0045-FAC4-6379-6BE1DD5284EB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1" creationId="{3B19D944-BE0B-004C-7D3A-6C101C529A8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7" creationId="{FB50F872-7F70-2DCA-3DAB-9AED07A345E8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8" creationId="{AF0498E6-9B78-E44D-F4FD-A22A4B4621EC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34" creationId="{922A10B9-DA85-E40B-12B3-4FDFDFF76257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35" creationId="{DAFD5588-9AB3-A26D-A609-462D1649E748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36" creationId="{F0A3433E-1044-9805-9169-D03B744F9286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44" creationId="{724F6CDA-CC39-6D60-5FE4-2B35D71F2366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46" creationId="{91B654EB-9BD2-8FA1-327C-CC02C1573F79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47" creationId="{AD5F4060-E433-218C-CEF3-182B679FD80F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48" creationId="{CB071AE8-CF88-95F0-8930-B59E5F302B6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77" creationId="{EDFB08B3-0E02-F320-7290-E744ADDDC819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79" creationId="{BD6717E1-ADD8-6CB4-6A4B-6082C230168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66" creationId="{9E8CCA2E-A9D9-F90F-BA9B-EDC9D89F6219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67" creationId="{28BC907E-2D5B-DA3E-866B-9B6CBEC1A11E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68" creationId="{B3F1BEB9-D9B0-942B-CE60-17C1C95CA784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69" creationId="{1B05308F-3B28-BD55-E4C0-E7146B5555E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71" creationId="{6DB2D753-D463-995F-890B-4854D980392B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72" creationId="{3153A1D5-F1C8-4830-1278-467F468940AA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73" creationId="{79F6F1C2-4983-016C-000B-059F0CEC29DF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74" creationId="{02097C4B-1EA6-3EA7-DD14-656C647EE96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76" creationId="{9E1C90BA-590B-0FCB-2EE2-293CCAA6A9D7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83" creationId="{B572F734-579A-764E-23DA-F354FC59FF7F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85" creationId="{E78B42B2-EFC9-CCBF-144F-8D11B046847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86" creationId="{CDE971B5-45EA-AF27-04B5-CEA47F50ECC0}"/>
          </ac:cxnSpMkLst>
        </pc:cxnChg>
        <pc:cxnChg chg="mod">
          <ac:chgData name="MTC-Presales 안남수" userId="830536ec-96eb-4152-83f9-b05e0ecaac42" providerId="ADAL" clId="{C0041557-B027-4094-89DA-296C8C5E80CE}" dt="2023-11-22T07:04:55.299" v="494" actId="14100"/>
          <ac:cxnSpMkLst>
            <pc:docMk/>
            <pc:sldMk cId="4266242151" sldId="553"/>
            <ac:cxnSpMk id="288" creationId="{766DACA8-EE87-BEE5-24A7-1CBC88B5AF04}"/>
          </ac:cxnSpMkLst>
        </pc:cxnChg>
      </pc:sldChg>
      <pc:sldChg chg="del">
        <pc:chgData name="MTC-Presales 안남수" userId="830536ec-96eb-4152-83f9-b05e0ecaac42" providerId="ADAL" clId="{C0041557-B027-4094-89DA-296C8C5E80CE}" dt="2023-11-23T00:44:52.699" v="1247" actId="47"/>
        <pc:sldMkLst>
          <pc:docMk/>
          <pc:sldMk cId="2236559761" sldId="555"/>
        </pc:sldMkLst>
      </pc:sldChg>
      <pc:sldChg chg="del">
        <pc:chgData name="MTC-Presales 안남수" userId="830536ec-96eb-4152-83f9-b05e0ecaac42" providerId="ADAL" clId="{C0041557-B027-4094-89DA-296C8C5E80CE}" dt="2023-11-23T00:44:01.483" v="1244" actId="2696"/>
        <pc:sldMkLst>
          <pc:docMk/>
          <pc:sldMk cId="1526363539" sldId="556"/>
        </pc:sldMkLst>
      </pc:sldChg>
      <pc:sldChg chg="add mod modShow">
        <pc:chgData name="MTC-Presales 안남수" userId="830536ec-96eb-4152-83f9-b05e0ecaac42" providerId="ADAL" clId="{C0041557-B027-4094-89DA-296C8C5E80CE}" dt="2023-11-23T01:25:12.234" v="1630" actId="729"/>
        <pc:sldMkLst>
          <pc:docMk/>
          <pc:sldMk cId="2590035723" sldId="556"/>
        </pc:sldMkLst>
      </pc:sldChg>
      <pc:sldChg chg="del">
        <pc:chgData name="MTC-Presales 안남수" userId="830536ec-96eb-4152-83f9-b05e0ecaac42" providerId="ADAL" clId="{C0041557-B027-4094-89DA-296C8C5E80CE}" dt="2023-11-23T00:47:39.837" v="1248" actId="47"/>
        <pc:sldMkLst>
          <pc:docMk/>
          <pc:sldMk cId="975504405" sldId="557"/>
        </pc:sldMkLst>
      </pc:sldChg>
      <pc:sldChg chg="add mod modShow">
        <pc:chgData name="MTC-Presales 안남수" userId="830536ec-96eb-4152-83f9-b05e0ecaac42" providerId="ADAL" clId="{C0041557-B027-4094-89DA-296C8C5E80CE}" dt="2023-11-23T02:06:43.442" v="1673" actId="729"/>
        <pc:sldMkLst>
          <pc:docMk/>
          <pc:sldMk cId="760638302" sldId="558"/>
        </pc:sldMkLst>
      </pc:sldChg>
      <pc:sldChg chg="addSp delSp modSp del mod">
        <pc:chgData name="MTC-Presales 안남수" userId="830536ec-96eb-4152-83f9-b05e0ecaac42" providerId="ADAL" clId="{C0041557-B027-4094-89DA-296C8C5E80CE}" dt="2023-11-23T02:06:37.896" v="1671" actId="2696"/>
        <pc:sldMkLst>
          <pc:docMk/>
          <pc:sldMk cId="3340408592" sldId="558"/>
        </pc:sldMkLst>
        <pc:spChg chg="mod">
          <ac:chgData name="MTC-Presales 안남수" userId="830536ec-96eb-4152-83f9-b05e0ecaac42" providerId="ADAL" clId="{C0041557-B027-4094-89DA-296C8C5E80CE}" dt="2023-11-22T06:48:27.762" v="298" actId="20577"/>
          <ac:spMkLst>
            <pc:docMk/>
            <pc:sldMk cId="3340408592" sldId="558"/>
            <ac:spMk id="2" creationId="{71A389C7-0991-BEE0-EDBC-26A96550CF14}"/>
          </ac:spMkLst>
        </pc:spChg>
        <pc:spChg chg="add mod">
          <ac:chgData name="MTC-Presales 안남수" userId="830536ec-96eb-4152-83f9-b05e0ecaac42" providerId="ADAL" clId="{C0041557-B027-4094-89DA-296C8C5E80CE}" dt="2023-11-22T07:03:58.996" v="487"/>
          <ac:spMkLst>
            <pc:docMk/>
            <pc:sldMk cId="3340408592" sldId="558"/>
            <ac:spMk id="4" creationId="{B506DC5B-6623-9959-7387-9DDFA3049471}"/>
          </ac:spMkLst>
        </pc:spChg>
        <pc:graphicFrameChg chg="add mod modGraphic">
          <ac:chgData name="MTC-Presales 안남수" userId="830536ec-96eb-4152-83f9-b05e0ecaac42" providerId="ADAL" clId="{C0041557-B027-4094-89DA-296C8C5E80CE}" dt="2023-11-23T01:09:29.295" v="1343" actId="14734"/>
          <ac:graphicFrameMkLst>
            <pc:docMk/>
            <pc:sldMk cId="3340408592" sldId="558"/>
            <ac:graphicFrameMk id="5" creationId="{DB16E844-6723-26C6-2911-C8F985AC04AD}"/>
          </ac:graphicFrameMkLst>
        </pc:graphicFrameChg>
        <pc:graphicFrameChg chg="add del mod modGraphic">
          <ac:chgData name="MTC-Presales 안남수" userId="830536ec-96eb-4152-83f9-b05e0ecaac42" providerId="ADAL" clId="{C0041557-B027-4094-89DA-296C8C5E80CE}" dt="2023-11-23T01:09:07.023" v="1340" actId="478"/>
          <ac:graphicFrameMkLst>
            <pc:docMk/>
            <pc:sldMk cId="3340408592" sldId="558"/>
            <ac:graphicFrameMk id="7" creationId="{1D2B5EB5-7535-8C8F-DEF5-8C92DF1A0820}"/>
          </ac:graphicFrameMkLst>
        </pc:graphicFrameChg>
        <pc:picChg chg="add del mod">
          <ac:chgData name="MTC-Presales 안남수" userId="830536ec-96eb-4152-83f9-b05e0ecaac42" providerId="ADAL" clId="{C0041557-B027-4094-89DA-296C8C5E80CE}" dt="2023-11-23T01:07:40.933" v="1296" actId="478"/>
          <ac:picMkLst>
            <pc:docMk/>
            <pc:sldMk cId="3340408592" sldId="558"/>
            <ac:picMk id="6" creationId="{EA8B5EE3-60C5-DBDE-B516-A689B7833705}"/>
          </ac:picMkLst>
        </pc:picChg>
      </pc:sldChg>
      <pc:sldChg chg="del">
        <pc:chgData name="MTC-Presales 안남수" userId="830536ec-96eb-4152-83f9-b05e0ecaac42" providerId="ADAL" clId="{C0041557-B027-4094-89DA-296C8C5E80CE}" dt="2023-11-23T01:24:37.975" v="1628" actId="47"/>
        <pc:sldMkLst>
          <pc:docMk/>
          <pc:sldMk cId="1553849100" sldId="559"/>
        </pc:sldMkLst>
      </pc:sldChg>
      <pc:sldChg chg="addSp modSp new mod">
        <pc:chgData name="MTC-Presales 안남수" userId="830536ec-96eb-4152-83f9-b05e0ecaac42" providerId="ADAL" clId="{C0041557-B027-4094-89DA-296C8C5E80CE}" dt="2023-11-22T07:04:02.068" v="488"/>
        <pc:sldMkLst>
          <pc:docMk/>
          <pc:sldMk cId="2241457630" sldId="560"/>
        </pc:sldMkLst>
        <pc:spChg chg="mod">
          <ac:chgData name="MTC-Presales 안남수" userId="830536ec-96eb-4152-83f9-b05e0ecaac42" providerId="ADAL" clId="{C0041557-B027-4094-89DA-296C8C5E80CE}" dt="2023-11-22T06:48:38.538" v="346" actId="20577"/>
          <ac:spMkLst>
            <pc:docMk/>
            <pc:sldMk cId="2241457630" sldId="560"/>
            <ac:spMk id="2" creationId="{81A1496D-654D-A36D-F05F-202BB70A9086}"/>
          </ac:spMkLst>
        </pc:spChg>
        <pc:spChg chg="add mod">
          <ac:chgData name="MTC-Presales 안남수" userId="830536ec-96eb-4152-83f9-b05e0ecaac42" providerId="ADAL" clId="{C0041557-B027-4094-89DA-296C8C5E80CE}" dt="2023-11-22T07:04:02.068" v="488"/>
          <ac:spMkLst>
            <pc:docMk/>
            <pc:sldMk cId="2241457630" sldId="560"/>
            <ac:spMk id="4" creationId="{732FBC4E-F7F5-879B-4554-FC5436AE685F}"/>
          </ac:spMkLst>
        </pc:spChg>
      </pc:sldChg>
      <pc:sldChg chg="addSp delSp modSp new mod">
        <pc:chgData name="MTC-Presales 안남수" userId="830536ec-96eb-4152-83f9-b05e0ecaac42" providerId="ADAL" clId="{C0041557-B027-4094-89DA-296C8C5E80CE}" dt="2023-11-22T08:21:09.306" v="1207" actId="20577"/>
        <pc:sldMkLst>
          <pc:docMk/>
          <pc:sldMk cId="3373096604" sldId="563"/>
        </pc:sldMkLst>
        <pc:spChg chg="mod">
          <ac:chgData name="MTC-Presales 안남수" userId="830536ec-96eb-4152-83f9-b05e0ecaac42" providerId="ADAL" clId="{C0041557-B027-4094-89DA-296C8C5E80CE}" dt="2023-11-22T08:21:09.306" v="1207" actId="20577"/>
          <ac:spMkLst>
            <pc:docMk/>
            <pc:sldMk cId="3373096604" sldId="563"/>
            <ac:spMk id="2" creationId="{13A96920-BCDA-0F21-6716-1014FE2AE5FA}"/>
          </ac:spMkLst>
        </pc:spChg>
        <pc:spChg chg="mod">
          <ac:chgData name="MTC-Presales 안남수" userId="830536ec-96eb-4152-83f9-b05e0ecaac42" providerId="ADAL" clId="{C0041557-B027-4094-89DA-296C8C5E80CE}" dt="2023-11-22T07:20:52.996" v="982" actId="20577"/>
          <ac:spMkLst>
            <pc:docMk/>
            <pc:sldMk cId="3373096604" sldId="563"/>
            <ac:spMk id="3" creationId="{1B11BC00-4D32-1F34-362D-CCA0EA503743}"/>
          </ac:spMkLst>
        </pc:spChg>
        <pc:spChg chg="add mod">
          <ac:chgData name="MTC-Presales 안남수" userId="830536ec-96eb-4152-83f9-b05e0ecaac42" providerId="ADAL" clId="{C0041557-B027-4094-89DA-296C8C5E80CE}" dt="2023-11-22T07:21:01.426" v="983" actId="1076"/>
          <ac:spMkLst>
            <pc:docMk/>
            <pc:sldMk cId="3373096604" sldId="563"/>
            <ac:spMk id="7" creationId="{E800BA93-7BBE-40D4-9EE1-61D1E8088215}"/>
          </ac:spMkLst>
        </pc:spChg>
        <pc:spChg chg="add mod">
          <ac:chgData name="MTC-Presales 안남수" userId="830536ec-96eb-4152-83f9-b05e0ecaac42" providerId="ADAL" clId="{C0041557-B027-4094-89DA-296C8C5E80CE}" dt="2023-11-22T07:21:05.217" v="984" actId="1076"/>
          <ac:spMkLst>
            <pc:docMk/>
            <pc:sldMk cId="3373096604" sldId="563"/>
            <ac:spMk id="9" creationId="{AFAD1332-69B2-A013-AE5E-DA585F7A1BE2}"/>
          </ac:spMkLst>
        </pc:spChg>
        <pc:spChg chg="add mod">
          <ac:chgData name="MTC-Presales 안남수" userId="830536ec-96eb-4152-83f9-b05e0ecaac42" providerId="ADAL" clId="{C0041557-B027-4094-89DA-296C8C5E80CE}" dt="2023-11-22T07:18:08.577" v="873" actId="1076"/>
          <ac:spMkLst>
            <pc:docMk/>
            <pc:sldMk cId="3373096604" sldId="563"/>
            <ac:spMk id="11" creationId="{A4F42A7A-3C04-59E8-D6C3-32B432E00580}"/>
          </ac:spMkLst>
        </pc:spChg>
        <pc:spChg chg="add mod">
          <ac:chgData name="MTC-Presales 안남수" userId="830536ec-96eb-4152-83f9-b05e0ecaac42" providerId="ADAL" clId="{C0041557-B027-4094-89DA-296C8C5E80CE}" dt="2023-11-22T07:18:55.406" v="885" actId="14100"/>
          <ac:spMkLst>
            <pc:docMk/>
            <pc:sldMk cId="3373096604" sldId="563"/>
            <ac:spMk id="13" creationId="{09709BC7-C4B4-E29A-2505-8D9ABFA3B5FB}"/>
          </ac:spMkLst>
        </pc:spChg>
        <pc:spChg chg="add mod">
          <ac:chgData name="MTC-Presales 안남수" userId="830536ec-96eb-4152-83f9-b05e0ecaac42" providerId="ADAL" clId="{C0041557-B027-4094-89DA-296C8C5E80CE}" dt="2023-11-22T07:20:30.952" v="956" actId="1076"/>
          <ac:spMkLst>
            <pc:docMk/>
            <pc:sldMk cId="3373096604" sldId="563"/>
            <ac:spMk id="14" creationId="{98F99DFC-DEA0-EF3C-7D53-ED74DA9CF049}"/>
          </ac:spMkLst>
        </pc:spChg>
        <pc:graphicFrameChg chg="add del mod modGraphic">
          <ac:chgData name="MTC-Presales 안남수" userId="830536ec-96eb-4152-83f9-b05e0ecaac42" providerId="ADAL" clId="{C0041557-B027-4094-89DA-296C8C5E80CE}" dt="2023-11-22T07:15:47.383" v="847" actId="478"/>
          <ac:graphicFrameMkLst>
            <pc:docMk/>
            <pc:sldMk cId="3373096604" sldId="563"/>
            <ac:graphicFrameMk id="4" creationId="{04ACD945-155F-3FA6-38DF-C610743E256C}"/>
          </ac:graphicFrameMkLst>
        </pc:graphicFrameChg>
        <pc:graphicFrameChg chg="add mod modGraphic">
          <ac:chgData name="MTC-Presales 안남수" userId="830536ec-96eb-4152-83f9-b05e0ecaac42" providerId="ADAL" clId="{C0041557-B027-4094-89DA-296C8C5E80CE}" dt="2023-11-22T07:21:34.598" v="987" actId="14734"/>
          <ac:graphicFrameMkLst>
            <pc:docMk/>
            <pc:sldMk cId="3373096604" sldId="563"/>
            <ac:graphicFrameMk id="5" creationId="{750175C7-CD63-0940-7F37-3EEC4B022FB3}"/>
          </ac:graphicFrameMkLst>
        </pc:graphicFrameChg>
        <pc:picChg chg="add mod">
          <ac:chgData name="MTC-Presales 안남수" userId="830536ec-96eb-4152-83f9-b05e0ecaac42" providerId="ADAL" clId="{C0041557-B027-4094-89DA-296C8C5E80CE}" dt="2023-11-22T07:12:59.046" v="838" actId="1076"/>
          <ac:picMkLst>
            <pc:docMk/>
            <pc:sldMk cId="3373096604" sldId="563"/>
            <ac:picMk id="1026" creationId="{91263EC0-E7EB-231B-96EF-C1DA31820020}"/>
          </ac:picMkLst>
        </pc:picChg>
        <pc:picChg chg="add mod">
          <ac:chgData name="MTC-Presales 안남수" userId="830536ec-96eb-4152-83f9-b05e0ecaac42" providerId="ADAL" clId="{C0041557-B027-4094-89DA-296C8C5E80CE}" dt="2023-11-22T07:18:47.017" v="882" actId="1076"/>
          <ac:picMkLst>
            <pc:docMk/>
            <pc:sldMk cId="3373096604" sldId="563"/>
            <ac:picMk id="1028" creationId="{5CD7AC83-6282-79D9-377B-74D855FE8D68}"/>
          </ac:picMkLst>
        </pc:picChg>
      </pc:sldChg>
      <pc:sldChg chg="addSp delSp modSp new del mod">
        <pc:chgData name="MTC-Presales 안남수" userId="830536ec-96eb-4152-83f9-b05e0ecaac42" providerId="ADAL" clId="{C0041557-B027-4094-89DA-296C8C5E80CE}" dt="2023-11-22T07:46:49.194" v="1036" actId="680"/>
        <pc:sldMkLst>
          <pc:docMk/>
          <pc:sldMk cId="2761041515" sldId="564"/>
        </pc:sldMkLst>
        <pc:graphicFrameChg chg="add del mod">
          <ac:chgData name="MTC-Presales 안남수" userId="830536ec-96eb-4152-83f9-b05e0ecaac42" providerId="ADAL" clId="{C0041557-B027-4094-89DA-296C8C5E80CE}" dt="2023-11-22T07:46:48.670" v="1035"/>
          <ac:graphicFrameMkLst>
            <pc:docMk/>
            <pc:sldMk cId="2761041515" sldId="564"/>
            <ac:graphicFrameMk id="4" creationId="{0D913356-5ADD-996D-AB62-8CD8935F9184}"/>
          </ac:graphicFrameMkLst>
        </pc:graphicFrameChg>
      </pc:sldChg>
      <pc:sldChg chg="addSp modSp new mod ord">
        <pc:chgData name="MTC-Presales 안남수" userId="830536ec-96eb-4152-83f9-b05e0ecaac42" providerId="ADAL" clId="{C0041557-B027-4094-89DA-296C8C5E80CE}" dt="2023-11-22T08:16:46.838" v="1183" actId="20577"/>
        <pc:sldMkLst>
          <pc:docMk/>
          <pc:sldMk cId="3662723722" sldId="564"/>
        </pc:sldMkLst>
        <pc:spChg chg="mod">
          <ac:chgData name="MTC-Presales 안남수" userId="830536ec-96eb-4152-83f9-b05e0ecaac42" providerId="ADAL" clId="{C0041557-B027-4094-89DA-296C8C5E80CE}" dt="2023-11-22T08:16:26.551" v="1173"/>
          <ac:spMkLst>
            <pc:docMk/>
            <pc:sldMk cId="3662723722" sldId="564"/>
            <ac:spMk id="2" creationId="{078FC7D7-8F35-83AD-9437-460E07E513C8}"/>
          </ac:spMkLst>
        </pc:spChg>
        <pc:graphicFrameChg chg="add mod modGraphic">
          <ac:chgData name="MTC-Presales 안남수" userId="830536ec-96eb-4152-83f9-b05e0ecaac42" providerId="ADAL" clId="{C0041557-B027-4094-89DA-296C8C5E80CE}" dt="2023-11-22T08:16:46.838" v="1183" actId="20577"/>
          <ac:graphicFrameMkLst>
            <pc:docMk/>
            <pc:sldMk cId="3662723722" sldId="564"/>
            <ac:graphicFrameMk id="4" creationId="{30B3978E-50F0-4CC4-DAD0-03E6C559EE17}"/>
          </ac:graphicFrameMkLst>
        </pc:graphicFrameChg>
      </pc:sldChg>
      <pc:sldChg chg="addSp delSp modSp new mod">
        <pc:chgData name="MTC-Presales 안남수" userId="830536ec-96eb-4152-83f9-b05e0ecaac42" providerId="ADAL" clId="{C0041557-B027-4094-89DA-296C8C5E80CE}" dt="2023-11-22T08:13:01.282" v="1170" actId="14100"/>
        <pc:sldMkLst>
          <pc:docMk/>
          <pc:sldMk cId="1287267465" sldId="565"/>
        </pc:sldMkLst>
        <pc:spChg chg="mod">
          <ac:chgData name="MTC-Presales 안남수" userId="830536ec-96eb-4152-83f9-b05e0ecaac42" providerId="ADAL" clId="{C0041557-B027-4094-89DA-296C8C5E80CE}" dt="2023-11-22T08:08:38.352" v="1097"/>
          <ac:spMkLst>
            <pc:docMk/>
            <pc:sldMk cId="1287267465" sldId="565"/>
            <ac:spMk id="2" creationId="{90D22A16-E10C-63DD-A497-DBFD5A34C243}"/>
          </ac:spMkLst>
        </pc:spChg>
        <pc:spChg chg="mod">
          <ac:chgData name="MTC-Presales 안남수" userId="830536ec-96eb-4152-83f9-b05e0ecaac42" providerId="ADAL" clId="{C0041557-B027-4094-89DA-296C8C5E80CE}" dt="2023-11-22T08:11:43.483" v="1107"/>
          <ac:spMkLst>
            <pc:docMk/>
            <pc:sldMk cId="1287267465" sldId="565"/>
            <ac:spMk id="3" creationId="{269D219D-19D9-F0A6-21C1-53FBD10869F1}"/>
          </ac:spMkLst>
        </pc:spChg>
        <pc:spChg chg="add mod">
          <ac:chgData name="MTC-Presales 안남수" userId="830536ec-96eb-4152-83f9-b05e0ecaac42" providerId="ADAL" clId="{C0041557-B027-4094-89DA-296C8C5E80CE}" dt="2023-11-22T08:11:57.710" v="1124" actId="20577"/>
          <ac:spMkLst>
            <pc:docMk/>
            <pc:sldMk cId="1287267465" sldId="565"/>
            <ac:spMk id="4" creationId="{79EB13F3-5CE3-B66F-9214-769FBCEEDD20}"/>
          </ac:spMkLst>
        </pc:spChg>
        <pc:spChg chg="add del mod">
          <ac:chgData name="MTC-Presales 안남수" userId="830536ec-96eb-4152-83f9-b05e0ecaac42" providerId="ADAL" clId="{C0041557-B027-4094-89DA-296C8C5E80CE}" dt="2023-11-22T08:09:20.244" v="1103" actId="478"/>
          <ac:spMkLst>
            <pc:docMk/>
            <pc:sldMk cId="1287267465" sldId="565"/>
            <ac:spMk id="5" creationId="{67D517D4-ADA4-9B4F-0CFE-7A42FB6DD2A6}"/>
          </ac:spMkLst>
        </pc:spChg>
        <pc:spChg chg="add mod">
          <ac:chgData name="MTC-Presales 안남수" userId="830536ec-96eb-4152-83f9-b05e0ecaac42" providerId="ADAL" clId="{C0041557-B027-4094-89DA-296C8C5E80CE}" dt="2023-11-22T08:09:25.416" v="1105" actId="1076"/>
          <ac:spMkLst>
            <pc:docMk/>
            <pc:sldMk cId="1287267465" sldId="565"/>
            <ac:spMk id="7" creationId="{1F6FD81F-2D64-D657-1DA7-37E1E487AF3E}"/>
          </ac:spMkLst>
        </pc:spChg>
        <pc:graphicFrameChg chg="add mod modGraphic">
          <ac:chgData name="MTC-Presales 안남수" userId="830536ec-96eb-4152-83f9-b05e0ecaac42" providerId="ADAL" clId="{C0041557-B027-4094-89DA-296C8C5E80CE}" dt="2023-11-22T08:13:01.282" v="1170" actId="14100"/>
          <ac:graphicFrameMkLst>
            <pc:docMk/>
            <pc:sldMk cId="1287267465" sldId="565"/>
            <ac:graphicFrameMk id="6" creationId="{2AF37E59-C7FE-F60C-A88A-0570CBC2D904}"/>
          </ac:graphicFrameMkLst>
        </pc:graphicFrameChg>
      </pc:sldChg>
      <pc:sldChg chg="new del">
        <pc:chgData name="MTC-Presales 안남수" userId="830536ec-96eb-4152-83f9-b05e0ecaac42" providerId="ADAL" clId="{C0041557-B027-4094-89DA-296C8C5E80CE}" dt="2023-11-23T00:44:35.433" v="1246" actId="47"/>
        <pc:sldMkLst>
          <pc:docMk/>
          <pc:sldMk cId="1465416776" sldId="566"/>
        </pc:sldMkLst>
      </pc:sldChg>
      <pc:sldChg chg="addSp modSp new mod">
        <pc:chgData name="MTC-Presales 안남수" userId="830536ec-96eb-4152-83f9-b05e0ecaac42" providerId="ADAL" clId="{C0041557-B027-4094-89DA-296C8C5E80CE}" dt="2023-11-23T01:32:26.729" v="1652" actId="255"/>
        <pc:sldMkLst>
          <pc:docMk/>
          <pc:sldMk cId="654478292" sldId="567"/>
        </pc:sldMkLst>
        <pc:spChg chg="mod">
          <ac:chgData name="MTC-Presales 안남수" userId="830536ec-96eb-4152-83f9-b05e0ecaac42" providerId="ADAL" clId="{C0041557-B027-4094-89DA-296C8C5E80CE}" dt="2023-11-22T08:21:17.386" v="1215" actId="20577"/>
          <ac:spMkLst>
            <pc:docMk/>
            <pc:sldMk cId="654478292" sldId="567"/>
            <ac:spMk id="2" creationId="{B922BEAE-5A2D-B9A0-67D4-E97AB7F13E85}"/>
          </ac:spMkLst>
        </pc:spChg>
        <pc:spChg chg="add mod">
          <ac:chgData name="MTC-Presales 안남수" userId="830536ec-96eb-4152-83f9-b05e0ecaac42" providerId="ADAL" clId="{C0041557-B027-4094-89DA-296C8C5E80CE}" dt="2023-11-23T01:32:26.729" v="1652" actId="255"/>
          <ac:spMkLst>
            <pc:docMk/>
            <pc:sldMk cId="654478292" sldId="567"/>
            <ac:spMk id="5" creationId="{68ED1A70-5C63-DACA-811C-C27450506EFF}"/>
          </ac:spMkLst>
        </pc:spChg>
        <pc:picChg chg="add mod">
          <ac:chgData name="MTC-Presales 안남수" userId="830536ec-96eb-4152-83f9-b05e0ecaac42" providerId="ADAL" clId="{C0041557-B027-4094-89DA-296C8C5E80CE}" dt="2023-11-23T01:31:58.953" v="1646" actId="1076"/>
          <ac:picMkLst>
            <pc:docMk/>
            <pc:sldMk cId="654478292" sldId="567"/>
            <ac:picMk id="1026" creationId="{BAA6BEA4-7747-B2E1-7524-5682018C4A8A}"/>
          </ac:picMkLst>
        </pc:picChg>
      </pc:sldChg>
      <pc:sldChg chg="add">
        <pc:chgData name="MTC-Presales 안남수" userId="830536ec-96eb-4152-83f9-b05e0ecaac42" providerId="ADAL" clId="{C0041557-B027-4094-89DA-296C8C5E80CE}" dt="2023-11-23T01:56:20.172" v="1654"/>
        <pc:sldMkLst>
          <pc:docMk/>
          <pc:sldMk cId="2555959047" sldId="568"/>
        </pc:sldMkLst>
      </pc:sldChg>
      <pc:sldChg chg="modSp new del mod">
        <pc:chgData name="MTC-Presales 안남수" userId="830536ec-96eb-4152-83f9-b05e0ecaac42" providerId="ADAL" clId="{C0041557-B027-4094-89DA-296C8C5E80CE}" dt="2023-11-23T01:56:14.022" v="1653" actId="2696"/>
        <pc:sldMkLst>
          <pc:docMk/>
          <pc:sldMk cId="3274324635" sldId="568"/>
        </pc:sldMkLst>
        <pc:spChg chg="mod">
          <ac:chgData name="MTC-Presales 안남수" userId="830536ec-96eb-4152-83f9-b05e0ecaac42" providerId="ADAL" clId="{C0041557-B027-4094-89DA-296C8C5E80CE}" dt="2023-11-22T08:22:24.422" v="1243" actId="20577"/>
          <ac:spMkLst>
            <pc:docMk/>
            <pc:sldMk cId="3274324635" sldId="568"/>
            <ac:spMk id="2" creationId="{74A42FB6-388A-C3A0-794B-3AF1B4CCA1BB}"/>
          </ac:spMkLst>
        </pc:spChg>
      </pc:sldChg>
      <pc:sldChg chg="addSp modSp new mod">
        <pc:chgData name="MTC-Presales 안남수" userId="830536ec-96eb-4152-83f9-b05e0ecaac42" providerId="ADAL" clId="{C0041557-B027-4094-89DA-296C8C5E80CE}" dt="2023-11-23T01:21:40.309" v="1608" actId="20577"/>
        <pc:sldMkLst>
          <pc:docMk/>
          <pc:sldMk cId="1589901990" sldId="569"/>
        </pc:sldMkLst>
        <pc:spChg chg="mod">
          <ac:chgData name="MTC-Presales 안남수" userId="830536ec-96eb-4152-83f9-b05e0ecaac42" providerId="ADAL" clId="{C0041557-B027-4094-89DA-296C8C5E80CE}" dt="2023-11-23T01:09:59.019" v="1365" actId="20577"/>
          <ac:spMkLst>
            <pc:docMk/>
            <pc:sldMk cId="1589901990" sldId="569"/>
            <ac:spMk id="2" creationId="{D81D48B8-1A2B-5F89-0240-E18B4E1A1BA6}"/>
          </ac:spMkLst>
        </pc:spChg>
        <pc:graphicFrameChg chg="add mod modGraphic">
          <ac:chgData name="MTC-Presales 안남수" userId="830536ec-96eb-4152-83f9-b05e0ecaac42" providerId="ADAL" clId="{C0041557-B027-4094-89DA-296C8C5E80CE}" dt="2023-11-23T01:21:40.309" v="1608" actId="20577"/>
          <ac:graphicFrameMkLst>
            <pc:docMk/>
            <pc:sldMk cId="1589901990" sldId="569"/>
            <ac:graphicFrameMk id="4" creationId="{36A132F1-E743-5324-673C-155F7551C812}"/>
          </ac:graphicFrameMkLst>
        </pc:graphicFrameChg>
      </pc:sldChg>
      <pc:sldChg chg="modSp add mod">
        <pc:chgData name="MTC-Presales 안남수" userId="830536ec-96eb-4152-83f9-b05e0ecaac42" providerId="ADAL" clId="{C0041557-B027-4094-89DA-296C8C5E80CE}" dt="2023-11-23T01:23:42.998" v="1618" actId="20577"/>
        <pc:sldMkLst>
          <pc:docMk/>
          <pc:sldMk cId="2128988106" sldId="570"/>
        </pc:sldMkLst>
        <pc:spChg chg="mod">
          <ac:chgData name="MTC-Presales 안남수" userId="830536ec-96eb-4152-83f9-b05e0ecaac42" providerId="ADAL" clId="{C0041557-B027-4094-89DA-296C8C5E80CE}" dt="2023-11-23T01:23:42.998" v="1618" actId="20577"/>
          <ac:spMkLst>
            <pc:docMk/>
            <pc:sldMk cId="2128988106" sldId="570"/>
            <ac:spMk id="2" creationId="{34F93088-BD15-8D6C-8DFC-69145670D1A8}"/>
          </ac:spMkLst>
        </pc:spChg>
      </pc:sldChg>
      <pc:sldChg chg="modSp add del mod">
        <pc:chgData name="MTC-Presales 안남수" userId="830536ec-96eb-4152-83f9-b05e0ecaac42" providerId="ADAL" clId="{C0041557-B027-4094-89DA-296C8C5E80CE}" dt="2023-11-23T01:24:09.968" v="1627" actId="47"/>
        <pc:sldMkLst>
          <pc:docMk/>
          <pc:sldMk cId="1324161179" sldId="571"/>
        </pc:sldMkLst>
        <pc:spChg chg="mod">
          <ac:chgData name="MTC-Presales 안남수" userId="830536ec-96eb-4152-83f9-b05e0ecaac42" providerId="ADAL" clId="{C0041557-B027-4094-89DA-296C8C5E80CE}" dt="2023-11-23T01:23:55.558" v="1626" actId="20577"/>
          <ac:spMkLst>
            <pc:docMk/>
            <pc:sldMk cId="1324161179" sldId="571"/>
            <ac:spMk id="2" creationId="{34F93088-BD15-8D6C-8DFC-69145670D1A8}"/>
          </ac:spMkLst>
        </pc:spChg>
      </pc:sldChg>
      <pc:sldChg chg="addSp delSp modSp new mod">
        <pc:chgData name="MTC-Presales 안남수" userId="830536ec-96eb-4152-83f9-b05e0ecaac42" providerId="ADAL" clId="{C0041557-B027-4094-89DA-296C8C5E80CE}" dt="2023-11-23T02:10:27.016" v="1787" actId="20577"/>
        <pc:sldMkLst>
          <pc:docMk/>
          <pc:sldMk cId="3577861688" sldId="571"/>
        </pc:sldMkLst>
        <pc:spChg chg="mod">
          <ac:chgData name="MTC-Presales 안남수" userId="830536ec-96eb-4152-83f9-b05e0ecaac42" providerId="ADAL" clId="{C0041557-B027-4094-89DA-296C8C5E80CE}" dt="2023-11-23T02:06:34.627" v="1669"/>
          <ac:spMkLst>
            <pc:docMk/>
            <pc:sldMk cId="3577861688" sldId="571"/>
            <ac:spMk id="2" creationId="{4B92501C-9658-1275-9F41-DE425AB35086}"/>
          </ac:spMkLst>
        </pc:spChg>
        <pc:spChg chg="add del mod">
          <ac:chgData name="MTC-Presales 안남수" userId="830536ec-96eb-4152-83f9-b05e0ecaac42" providerId="ADAL" clId="{C0041557-B027-4094-89DA-296C8C5E80CE}" dt="2023-11-23T02:04:54.322" v="1657"/>
          <ac:spMkLst>
            <pc:docMk/>
            <pc:sldMk cId="3577861688" sldId="571"/>
            <ac:spMk id="6" creationId="{C549E79C-F4ED-EA2D-C3B5-CF7F0B224E8B}"/>
          </ac:spMkLst>
        </pc:spChg>
        <pc:graphicFrameChg chg="add del mod">
          <ac:chgData name="MTC-Presales 안남수" userId="830536ec-96eb-4152-83f9-b05e0ecaac42" providerId="ADAL" clId="{C0041557-B027-4094-89DA-296C8C5E80CE}" dt="2023-11-23T02:04:54.322" v="1657"/>
          <ac:graphicFrameMkLst>
            <pc:docMk/>
            <pc:sldMk cId="3577861688" sldId="571"/>
            <ac:graphicFrameMk id="4" creationId="{4B46B145-B4E9-52BE-47B0-C30785EE2E2E}"/>
          </ac:graphicFrameMkLst>
        </pc:graphicFrameChg>
        <pc:graphicFrameChg chg="add del mod">
          <ac:chgData name="MTC-Presales 안남수" userId="830536ec-96eb-4152-83f9-b05e0ecaac42" providerId="ADAL" clId="{C0041557-B027-4094-89DA-296C8C5E80CE}" dt="2023-11-23T02:04:54.322" v="1657"/>
          <ac:graphicFrameMkLst>
            <pc:docMk/>
            <pc:sldMk cId="3577861688" sldId="571"/>
            <ac:graphicFrameMk id="5" creationId="{88067B8B-D111-9649-CE0D-B04C7F2F8528}"/>
          </ac:graphicFrameMkLst>
        </pc:graphicFrameChg>
        <pc:graphicFrameChg chg="add mod modGraphic">
          <ac:chgData name="MTC-Presales 안남수" userId="830536ec-96eb-4152-83f9-b05e0ecaac42" providerId="ADAL" clId="{C0041557-B027-4094-89DA-296C8C5E80CE}" dt="2023-11-23T02:10:27.016" v="1787" actId="20577"/>
          <ac:graphicFrameMkLst>
            <pc:docMk/>
            <pc:sldMk cId="3577861688" sldId="571"/>
            <ac:graphicFrameMk id="7" creationId="{10F79FF0-A964-206A-F408-1F840AA544A1}"/>
          </ac:graphicFrameMkLst>
        </pc:graphicFrameChg>
      </pc:sldChg>
      <pc:sldChg chg="addSp modSp new mod">
        <pc:chgData name="MTC-Presales 안남수" userId="830536ec-96eb-4152-83f9-b05e0ecaac42" providerId="ADAL" clId="{C0041557-B027-4094-89DA-296C8C5E80CE}" dt="2023-11-23T02:07:02.661" v="1676" actId="242"/>
        <pc:sldMkLst>
          <pc:docMk/>
          <pc:sldMk cId="4258951312" sldId="572"/>
        </pc:sldMkLst>
        <pc:spChg chg="mod">
          <ac:chgData name="MTC-Presales 안남수" userId="830536ec-96eb-4152-83f9-b05e0ecaac42" providerId="ADAL" clId="{C0041557-B027-4094-89DA-296C8C5E80CE}" dt="2023-11-23T02:06:36.524" v="1670"/>
          <ac:spMkLst>
            <pc:docMk/>
            <pc:sldMk cId="4258951312" sldId="572"/>
            <ac:spMk id="2" creationId="{F50AD43C-A79E-924F-8543-00495EAD0B14}"/>
          </ac:spMkLst>
        </pc:spChg>
        <pc:graphicFrameChg chg="add mod modGraphic">
          <ac:chgData name="MTC-Presales 안남수" userId="830536ec-96eb-4152-83f9-b05e0ecaac42" providerId="ADAL" clId="{C0041557-B027-4094-89DA-296C8C5E80CE}" dt="2023-11-23T02:07:02.661" v="1676" actId="242"/>
          <ac:graphicFrameMkLst>
            <pc:docMk/>
            <pc:sldMk cId="4258951312" sldId="572"/>
            <ac:graphicFrameMk id="4" creationId="{49D271B7-BB54-8CCF-E059-4BFA43A45506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5BDBD629-75BF-4223-AF4A-1EF34A066699}" type="datetimeFigureOut">
              <a:rPr lang="ko-KR" altLang="en-US" smtClean="0"/>
              <a:pPr/>
              <a:t>2023-12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625EB765-6BC6-4E17-AAA2-D123124B32C4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4870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73596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325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409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) 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5"/>
          <p:cNvSpPr txBox="1">
            <a:spLocks/>
          </p:cNvSpPr>
          <p:nvPr userDrawn="1"/>
        </p:nvSpPr>
        <p:spPr>
          <a:xfrm>
            <a:off x="1172580" y="1052736"/>
            <a:ext cx="4356484" cy="5400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ko-KR" altLang="en-US" sz="3000" b="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KB금융 제목체 Medium" panose="020B0603000000000000" pitchFamily="50" charset="-127"/>
                <a:ea typeface="KB금융 제목체 Medium" panose="020B0603000000000000" pitchFamily="50" charset="-127"/>
                <a:cs typeface="+mn-cs"/>
              </a:defRPr>
            </a:lvl1pPr>
          </a:lstStyle>
          <a:p>
            <a:r>
              <a:rPr lang="ko-KR" altLang="en-US" sz="2999">
                <a:solidFill>
                  <a:schemeClr val="tx1"/>
                </a:solidFill>
                <a:latin typeface="+mj-lt"/>
                <a:ea typeface="+mj-ea"/>
              </a:rPr>
              <a:t>목차</a:t>
            </a: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796390" y="1808821"/>
            <a:ext cx="9109611" cy="59511"/>
            <a:chOff x="1367282" y="2096852"/>
            <a:chExt cx="4249697" cy="72008"/>
          </a:xfrm>
        </p:grpSpPr>
        <p:sp>
          <p:nvSpPr>
            <p:cNvPr id="7" name="직사각형 6"/>
            <p:cNvSpPr/>
            <p:nvPr/>
          </p:nvSpPr>
          <p:spPr>
            <a:xfrm>
              <a:off x="1367282" y="2096852"/>
              <a:ext cx="1041438" cy="72008"/>
            </a:xfrm>
            <a:prstGeom prst="rect">
              <a:avLst/>
            </a:prstGeom>
            <a:solidFill>
              <a:srgbClr val="62574A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ko-KR" altLang="en-US" sz="1199" dirty="0">
                <a:solidFill>
                  <a:schemeClr val="tx1"/>
                </a:solidFill>
                <a:latin typeface="KB금융 본문체 Light" panose="020B0303000000000000" pitchFamily="50" charset="-127"/>
                <a:ea typeface="KB금융 본문체 Light" panose="020B0303000000000000" pitchFamily="50" charset="-127"/>
                <a:cs typeface="Arial" pitchFamily="34" charset="0"/>
              </a:endParaRPr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2213663" y="2096852"/>
              <a:ext cx="3403316" cy="72008"/>
            </a:xfrm>
            <a:prstGeom prst="rect">
              <a:avLst/>
            </a:prstGeom>
            <a:solidFill>
              <a:srgbClr val="FFC000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ko-KR" altLang="en-US" sz="1199" dirty="0">
                <a:solidFill>
                  <a:schemeClr val="tx1"/>
                </a:solidFill>
                <a:latin typeface="KB금융 본문체 Light" panose="020B0303000000000000" pitchFamily="50" charset="-127"/>
                <a:ea typeface="KB금융 본문체 Light" panose="020B0303000000000000" pitchFamily="50" charset="-127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4032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) 내용(거버닝 메시지 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1885" y="299382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99" b="0" baseline="0" dirty="0">
                <a:latin typeface="+mj-lt"/>
              </a:defRPr>
            </a:lvl1pPr>
          </a:lstStyle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1884" y="731431"/>
            <a:ext cx="9143468" cy="221599"/>
          </a:xfrm>
        </p:spPr>
        <p:txBody>
          <a:bodyPr/>
          <a:lstStyle>
            <a:lvl1pPr>
              <a:spcBef>
                <a:spcPts val="0"/>
              </a:spcBef>
              <a:defRPr sz="1599" b="0" baseline="0">
                <a:latin typeface="+mn-lt"/>
              </a:defRPr>
            </a:lvl1pPr>
          </a:lstStyle>
          <a:p>
            <a:pPr lvl="0"/>
            <a:r>
              <a:rPr lang="en-US" altLang="ko-KR" dirty="0"/>
              <a:t>Headline of maximum two lines here</a:t>
            </a:r>
          </a:p>
        </p:txBody>
      </p:sp>
      <p:sp>
        <p:nvSpPr>
          <p:cNvPr id="5" name="Rectangle 7"/>
          <p:cNvSpPr txBox="1">
            <a:spLocks noChangeArrowheads="1"/>
          </p:cNvSpPr>
          <p:nvPr userDrawn="1"/>
        </p:nvSpPr>
        <p:spPr bwMode="auto">
          <a:xfrm>
            <a:off x="286942" y="6605741"/>
            <a:ext cx="3945979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83" tIns="35983" rIns="35983" bIns="35983" numCol="1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9pPr>
          </a:lstStyle>
          <a:p>
            <a:pPr algn="l">
              <a:defRPr/>
            </a:pP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「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B2C/B2B</a:t>
            </a:r>
            <a:r>
              <a:rPr lang="en-US" altLang="ko-KR" sz="999" b="0" baseline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 </a:t>
            </a:r>
            <a:r>
              <a:rPr lang="ko-KR" altLang="en-US" sz="999" b="0" baseline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통합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 </a:t>
            </a: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플랫폼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』 </a:t>
            </a: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구축」 프로젝트</a:t>
            </a:r>
            <a:endParaRPr lang="en-US" altLang="ko-KR" sz="999" b="0">
              <a:latin typeface="KB금융 본문체 Light" panose="020B0303000000000000" pitchFamily="50" charset="-127"/>
              <a:ea typeface="KB금융 본문체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711978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) 내용 (거버닝 메시지 미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1885" y="299382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99" b="0" baseline="0" dirty="0">
                <a:latin typeface="+mj-lt"/>
              </a:defRPr>
            </a:lvl1pPr>
          </a:lstStyle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872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) E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B금융그룹(백)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-8025"/>
          <a:stretch>
            <a:fillRect/>
          </a:stretch>
        </p:blipFill>
        <p:spPr bwMode="auto">
          <a:xfrm>
            <a:off x="7245352" y="333376"/>
            <a:ext cx="13049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3253337" y="2586970"/>
            <a:ext cx="339932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999">
                <a:latin typeface="KB금융 제목체 Medium" panose="020B0603000000000000" pitchFamily="50" charset="-127"/>
                <a:ea typeface="KB금융 제목체 Medium" panose="020B0603000000000000" pitchFamily="50" charset="-127"/>
              </a:rPr>
              <a:t>End of Document</a:t>
            </a:r>
            <a:endParaRPr lang="ko-KR" altLang="en-US" sz="2999">
              <a:latin typeface="KB금융 제목체 Medium" panose="020B0603000000000000" pitchFamily="50" charset="-127"/>
              <a:ea typeface="KB금융 제목체 Medium" panose="020B0603000000000000" pitchFamily="50" charset="-127"/>
            </a:endParaRPr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357" y="6275640"/>
            <a:ext cx="1943289" cy="32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566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)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24"/>
            <a:ext cx="9906000" cy="685655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450001" y="2154922"/>
            <a:ext cx="215796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1"/>
            <a:r>
              <a:rPr lang="en-US" altLang="ko-KR" sz="2999" baseline="0">
                <a:solidFill>
                  <a:prstClr val="black"/>
                </a:solidFill>
                <a:latin typeface="+mj-lt"/>
                <a:ea typeface="+mj-ea"/>
              </a:rPr>
              <a:t>I. Overview</a:t>
            </a:r>
            <a:endParaRPr lang="ko-KR" altLang="en-US" sz="2999" baseline="0">
              <a:solidFill>
                <a:prstClr val="black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11758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48425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47412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) 내용(거버닝 메시지 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1885" y="299382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99" b="0" baseline="0" dirty="0">
                <a:latin typeface="+mj-lt"/>
              </a:defRPr>
            </a:lvl1pPr>
          </a:lstStyle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1884" y="731431"/>
            <a:ext cx="9143468" cy="221599"/>
          </a:xfrm>
        </p:spPr>
        <p:txBody>
          <a:bodyPr/>
          <a:lstStyle>
            <a:lvl1pPr>
              <a:spcBef>
                <a:spcPts val="0"/>
              </a:spcBef>
              <a:defRPr sz="1599" b="0" baseline="0">
                <a:latin typeface="+mn-lt"/>
              </a:defRPr>
            </a:lvl1pPr>
          </a:lstStyle>
          <a:p>
            <a:pPr lvl="0"/>
            <a:r>
              <a:rPr lang="en-US" altLang="ko-KR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81824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5056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) 내용 (거버닝 메시지 미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1885" y="299382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99" b="0" baseline="0" dirty="0">
                <a:latin typeface="+mj-lt"/>
              </a:defRPr>
            </a:lvl1pPr>
          </a:lstStyle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3631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) E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B금융그룹(백)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-8025"/>
          <a:stretch>
            <a:fillRect/>
          </a:stretch>
        </p:blipFill>
        <p:spPr bwMode="auto">
          <a:xfrm>
            <a:off x="7245352" y="333376"/>
            <a:ext cx="13049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3253337" y="2586970"/>
            <a:ext cx="339932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999">
                <a:latin typeface="KB금융 제목체 Medium" panose="020B0603000000000000" pitchFamily="50" charset="-127"/>
                <a:ea typeface="KB금융 제목체 Medium" panose="020B0603000000000000" pitchFamily="50" charset="-127"/>
              </a:rPr>
              <a:t>End of Document</a:t>
            </a:r>
            <a:endParaRPr lang="ko-KR" altLang="en-US" sz="2999">
              <a:latin typeface="KB금융 제목체 Medium" panose="020B0603000000000000" pitchFamily="50" charset="-127"/>
              <a:ea typeface="KB금융 제목체 Medium" panose="020B0603000000000000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887" y="6129300"/>
            <a:ext cx="2052228" cy="36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9379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)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24"/>
            <a:ext cx="9906000" cy="685655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450001" y="2154922"/>
            <a:ext cx="215796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1"/>
            <a:r>
              <a:rPr lang="en-US" altLang="ko-KR" sz="2999" baseline="0">
                <a:solidFill>
                  <a:prstClr val="black"/>
                </a:solidFill>
                <a:latin typeface="+mj-lt"/>
                <a:ea typeface="+mj-ea"/>
              </a:rPr>
              <a:t>I. Overview</a:t>
            </a:r>
            <a:endParaRPr lang="ko-KR" altLang="en-US" sz="2999" baseline="0">
              <a:solidFill>
                <a:prstClr val="black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488425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4758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9335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) 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5"/>
          <p:cNvSpPr txBox="1">
            <a:spLocks/>
          </p:cNvSpPr>
          <p:nvPr userDrawn="1"/>
        </p:nvSpPr>
        <p:spPr>
          <a:xfrm>
            <a:off x="1172580" y="1052736"/>
            <a:ext cx="4356484" cy="5400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ko-KR" altLang="en-US" sz="3000" b="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KB금융 제목체 Medium" panose="020B0603000000000000" pitchFamily="50" charset="-127"/>
                <a:ea typeface="KB금융 제목체 Medium" panose="020B0603000000000000" pitchFamily="50" charset="-127"/>
                <a:cs typeface="+mn-cs"/>
              </a:defRPr>
            </a:lvl1pPr>
          </a:lstStyle>
          <a:p>
            <a:r>
              <a:rPr lang="ko-KR" altLang="en-US" sz="2999">
                <a:solidFill>
                  <a:schemeClr val="tx1"/>
                </a:solidFill>
                <a:latin typeface="+mj-lt"/>
                <a:ea typeface="+mj-ea"/>
              </a:rPr>
              <a:t>목차</a:t>
            </a: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796390" y="1808821"/>
            <a:ext cx="9109611" cy="59511"/>
            <a:chOff x="1367282" y="2096852"/>
            <a:chExt cx="4249697" cy="72008"/>
          </a:xfrm>
        </p:grpSpPr>
        <p:sp>
          <p:nvSpPr>
            <p:cNvPr id="7" name="직사각형 6"/>
            <p:cNvSpPr/>
            <p:nvPr/>
          </p:nvSpPr>
          <p:spPr>
            <a:xfrm>
              <a:off x="1367282" y="2096852"/>
              <a:ext cx="1041438" cy="72008"/>
            </a:xfrm>
            <a:prstGeom prst="rect">
              <a:avLst/>
            </a:prstGeom>
            <a:solidFill>
              <a:srgbClr val="62574A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ko-KR" altLang="en-US" sz="1199" dirty="0">
                <a:solidFill>
                  <a:schemeClr val="tx1"/>
                </a:solidFill>
                <a:latin typeface="KB금융 본문체 Light" panose="020B0303000000000000" pitchFamily="50" charset="-127"/>
                <a:ea typeface="KB금융 본문체 Light" panose="020B0303000000000000" pitchFamily="50" charset="-127"/>
                <a:cs typeface="Arial" pitchFamily="34" charset="0"/>
              </a:endParaRPr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2213663" y="2096852"/>
              <a:ext cx="3403316" cy="72008"/>
            </a:xfrm>
            <a:prstGeom prst="rect">
              <a:avLst/>
            </a:prstGeom>
            <a:solidFill>
              <a:srgbClr val="FFC000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endParaRPr lang="ko-KR" altLang="en-US" sz="1199" dirty="0">
                <a:solidFill>
                  <a:schemeClr val="tx1"/>
                </a:solidFill>
                <a:latin typeface="KB금융 본문체 Light" panose="020B0303000000000000" pitchFamily="50" charset="-127"/>
                <a:ea typeface="KB금융 본문체 Light" panose="020B0303000000000000" pitchFamily="50" charset="-127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7173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5834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)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65" y="-7268"/>
            <a:ext cx="9906000" cy="6856552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24688"/>
            <a:ext cx="1966024" cy="396000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312" y="6381328"/>
            <a:ext cx="2052228" cy="36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096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) 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24"/>
            <a:ext cx="9906000" cy="6856552"/>
          </a:xfrm>
          <a:prstGeom prst="rect">
            <a:avLst/>
          </a:prstGeom>
        </p:spPr>
      </p:pic>
      <p:sp>
        <p:nvSpPr>
          <p:cNvPr id="7" name="제목 6"/>
          <p:cNvSpPr>
            <a:spLocks noGrp="1"/>
          </p:cNvSpPr>
          <p:nvPr>
            <p:ph type="title" hasCustomPrompt="1"/>
          </p:nvPr>
        </p:nvSpPr>
        <p:spPr>
          <a:xfrm>
            <a:off x="1208584" y="1459617"/>
            <a:ext cx="4356484" cy="540000"/>
          </a:xfrm>
          <a:noFill/>
        </p:spPr>
        <p:txBody>
          <a:bodyPr wrap="square" rtlCol="0">
            <a:noAutofit/>
          </a:bodyPr>
          <a:lstStyle>
            <a:lvl1pPr>
              <a:defRPr lang="ko-KR" altLang="en-US" sz="2999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KB금융 제목체 Medium" panose="020B0603000000000000" pitchFamily="50" charset="-127"/>
                <a:ea typeface="KB금융 제목체 Medium" panose="020B0603000000000000" pitchFamily="50" charset="-127"/>
                <a:cs typeface="+mn-cs"/>
              </a:defRPr>
            </a:lvl1pPr>
          </a:lstStyle>
          <a:p>
            <a:pPr lvl="0">
              <a:lnSpc>
                <a:spcPts val="3498"/>
              </a:lnSpc>
            </a:pPr>
            <a:r>
              <a:rPr lang="ko-KR" altLang="en-US"/>
              <a:t>목차</a:t>
            </a:r>
          </a:p>
        </p:txBody>
      </p:sp>
    </p:spTree>
    <p:extLst>
      <p:ext uri="{BB962C8B-B14F-4D97-AF65-F5344CB8AC3E}">
        <p14:creationId xmlns:p14="http://schemas.microsoft.com/office/powerpoint/2010/main" val="1764235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) 내용(거버닝 메시지 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1885" y="299382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99" b="0" baseline="0" dirty="0">
                <a:latin typeface="+mj-lt"/>
              </a:defRPr>
            </a:lvl1pPr>
          </a:lstStyle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1884" y="731431"/>
            <a:ext cx="9143468" cy="221599"/>
          </a:xfrm>
        </p:spPr>
        <p:txBody>
          <a:bodyPr/>
          <a:lstStyle>
            <a:lvl1pPr>
              <a:spcBef>
                <a:spcPts val="0"/>
              </a:spcBef>
              <a:defRPr sz="1599" b="0" baseline="0">
                <a:latin typeface="+mn-lt"/>
              </a:defRPr>
            </a:lvl1pPr>
          </a:lstStyle>
          <a:p>
            <a:pPr lvl="0"/>
            <a:r>
              <a:rPr lang="en-US" altLang="ko-KR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77591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) 내용 (거버닝 메시지 미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1885" y="299382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999" b="0" baseline="0" dirty="0">
                <a:latin typeface="+mj-lt"/>
              </a:defRPr>
            </a:lvl1pPr>
          </a:lstStyle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350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) E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KB금융그룹(백)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2" t="-8025"/>
          <a:stretch>
            <a:fillRect/>
          </a:stretch>
        </p:blipFill>
        <p:spPr bwMode="auto">
          <a:xfrm>
            <a:off x="7245352" y="333376"/>
            <a:ext cx="13049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3253337" y="2586970"/>
            <a:ext cx="339932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999">
                <a:latin typeface="KB금융 제목체 Medium" panose="020B0603000000000000" pitchFamily="50" charset="-127"/>
                <a:ea typeface="KB금융 제목체 Medium" panose="020B0603000000000000" pitchFamily="50" charset="-127"/>
              </a:rPr>
              <a:t>End of Document</a:t>
            </a:r>
            <a:endParaRPr lang="ko-KR" altLang="en-US" sz="2999">
              <a:latin typeface="KB금융 제목체 Medium" panose="020B0603000000000000" pitchFamily="50" charset="-127"/>
              <a:ea typeface="KB금융 제목체 Medium" panose="020B0603000000000000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887" y="6165304"/>
            <a:ext cx="2052228" cy="36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926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)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24"/>
            <a:ext cx="9906000" cy="685655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450001" y="2154922"/>
            <a:ext cx="215796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1"/>
            <a:r>
              <a:rPr lang="en-US" altLang="ko-KR" sz="2999" baseline="0">
                <a:solidFill>
                  <a:prstClr val="black"/>
                </a:solidFill>
                <a:latin typeface="+mj-lt"/>
                <a:ea typeface="+mj-ea"/>
              </a:rPr>
              <a:t>I. Overview</a:t>
            </a:r>
            <a:endParaRPr lang="ko-KR" altLang="en-US" sz="2999" baseline="0">
              <a:solidFill>
                <a:prstClr val="black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23299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260" y="6436148"/>
            <a:ext cx="1311650" cy="1769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8022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80" r:id="rId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그림 3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" y="0"/>
            <a:ext cx="9902951" cy="6858000"/>
          </a:xfrm>
          <a:prstGeom prst="rect">
            <a:avLst/>
          </a:prstGeom>
        </p:spPr>
      </p:pic>
      <p:sp>
        <p:nvSpPr>
          <p:cNvPr id="41" name="직사각형 40"/>
          <p:cNvSpPr/>
          <p:nvPr userDrawn="1"/>
        </p:nvSpPr>
        <p:spPr>
          <a:xfrm rot="16200000" flipH="1">
            <a:off x="-3075092" y="3388517"/>
            <a:ext cx="6858000" cy="80963"/>
          </a:xfrm>
          <a:prstGeom prst="rect">
            <a:avLst/>
          </a:prstGeom>
          <a:gradFill>
            <a:gsLst>
              <a:gs pos="24000">
                <a:srgbClr val="FFE497"/>
              </a:gs>
              <a:gs pos="100000">
                <a:srgbClr val="FFF0C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5" name="직사각형 54"/>
          <p:cNvSpPr/>
          <p:nvPr userDrawn="1"/>
        </p:nvSpPr>
        <p:spPr>
          <a:xfrm rot="5400000">
            <a:off x="-3267075" y="3267075"/>
            <a:ext cx="6858000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48816" y="85726"/>
            <a:ext cx="226219" cy="162280"/>
          </a:xfrm>
          <a:custGeom>
            <a:avLst/>
            <a:gdLst>
              <a:gd name="T0" fmla="*/ 690 w 707"/>
              <a:gd name="T1" fmla="*/ 257 h 507"/>
              <a:gd name="T2" fmla="*/ 523 w 707"/>
              <a:gd name="T3" fmla="*/ 256 h 507"/>
              <a:gd name="T4" fmla="*/ 526 w 707"/>
              <a:gd name="T5" fmla="*/ 223 h 507"/>
              <a:gd name="T6" fmla="*/ 523 w 707"/>
              <a:gd name="T7" fmla="*/ 161 h 507"/>
              <a:gd name="T8" fmla="*/ 482 w 707"/>
              <a:gd name="T9" fmla="*/ 170 h 507"/>
              <a:gd name="T10" fmla="*/ 474 w 707"/>
              <a:gd name="T11" fmla="*/ 223 h 507"/>
              <a:gd name="T12" fmla="*/ 472 w 707"/>
              <a:gd name="T13" fmla="*/ 349 h 507"/>
              <a:gd name="T14" fmla="*/ 518 w 707"/>
              <a:gd name="T15" fmla="*/ 353 h 507"/>
              <a:gd name="T16" fmla="*/ 527 w 707"/>
              <a:gd name="T17" fmla="*/ 345 h 507"/>
              <a:gd name="T18" fmla="*/ 600 w 707"/>
              <a:gd name="T19" fmla="*/ 264 h 507"/>
              <a:gd name="T20" fmla="*/ 640 w 707"/>
              <a:gd name="T21" fmla="*/ 329 h 507"/>
              <a:gd name="T22" fmla="*/ 500 w 707"/>
              <a:gd name="T23" fmla="*/ 384 h 507"/>
              <a:gd name="T24" fmla="*/ 380 w 707"/>
              <a:gd name="T25" fmla="*/ 310 h 507"/>
              <a:gd name="T26" fmla="*/ 357 w 707"/>
              <a:gd name="T27" fmla="*/ 293 h 507"/>
              <a:gd name="T28" fmla="*/ 267 w 707"/>
              <a:gd name="T29" fmla="*/ 231 h 507"/>
              <a:gd name="T30" fmla="*/ 284 w 707"/>
              <a:gd name="T31" fmla="*/ 217 h 507"/>
              <a:gd name="T32" fmla="*/ 323 w 707"/>
              <a:gd name="T33" fmla="*/ 192 h 507"/>
              <a:gd name="T34" fmla="*/ 530 w 707"/>
              <a:gd name="T35" fmla="*/ 62 h 507"/>
              <a:gd name="T36" fmla="*/ 532 w 707"/>
              <a:gd name="T37" fmla="*/ 52 h 507"/>
              <a:gd name="T38" fmla="*/ 528 w 707"/>
              <a:gd name="T39" fmla="*/ 28 h 507"/>
              <a:gd name="T40" fmla="*/ 422 w 707"/>
              <a:gd name="T41" fmla="*/ 82 h 507"/>
              <a:gd name="T42" fmla="*/ 271 w 707"/>
              <a:gd name="T43" fmla="*/ 174 h 507"/>
              <a:gd name="T44" fmla="*/ 290 w 707"/>
              <a:gd name="T45" fmla="*/ 17 h 507"/>
              <a:gd name="T46" fmla="*/ 283 w 707"/>
              <a:gd name="T47" fmla="*/ 5 h 507"/>
              <a:gd name="T48" fmla="*/ 263 w 707"/>
              <a:gd name="T49" fmla="*/ 3 h 507"/>
              <a:gd name="T50" fmla="*/ 245 w 707"/>
              <a:gd name="T51" fmla="*/ 10 h 507"/>
              <a:gd name="T52" fmla="*/ 203 w 707"/>
              <a:gd name="T53" fmla="*/ 191 h 507"/>
              <a:gd name="T54" fmla="*/ 114 w 707"/>
              <a:gd name="T55" fmla="*/ 142 h 507"/>
              <a:gd name="T56" fmla="*/ 92 w 707"/>
              <a:gd name="T57" fmla="*/ 132 h 507"/>
              <a:gd name="T58" fmla="*/ 56 w 707"/>
              <a:gd name="T59" fmla="*/ 109 h 507"/>
              <a:gd name="T60" fmla="*/ 18 w 707"/>
              <a:gd name="T61" fmla="*/ 130 h 507"/>
              <a:gd name="T62" fmla="*/ 18 w 707"/>
              <a:gd name="T63" fmla="*/ 138 h 507"/>
              <a:gd name="T64" fmla="*/ 20 w 707"/>
              <a:gd name="T65" fmla="*/ 145 h 507"/>
              <a:gd name="T66" fmla="*/ 112 w 707"/>
              <a:gd name="T67" fmla="*/ 203 h 507"/>
              <a:gd name="T68" fmla="*/ 165 w 707"/>
              <a:gd name="T69" fmla="*/ 234 h 507"/>
              <a:gd name="T70" fmla="*/ 171 w 707"/>
              <a:gd name="T71" fmla="*/ 237 h 507"/>
              <a:gd name="T72" fmla="*/ 45 w 707"/>
              <a:gd name="T73" fmla="*/ 321 h 507"/>
              <a:gd name="T74" fmla="*/ 1 w 707"/>
              <a:gd name="T75" fmla="*/ 349 h 507"/>
              <a:gd name="T76" fmla="*/ 1 w 707"/>
              <a:gd name="T77" fmla="*/ 353 h 507"/>
              <a:gd name="T78" fmla="*/ 9 w 707"/>
              <a:gd name="T79" fmla="*/ 359 h 507"/>
              <a:gd name="T80" fmla="*/ 18 w 707"/>
              <a:gd name="T81" fmla="*/ 363 h 507"/>
              <a:gd name="T82" fmla="*/ 153 w 707"/>
              <a:gd name="T83" fmla="*/ 296 h 507"/>
              <a:gd name="T84" fmla="*/ 174 w 707"/>
              <a:gd name="T85" fmla="*/ 284 h 507"/>
              <a:gd name="T86" fmla="*/ 202 w 707"/>
              <a:gd name="T87" fmla="*/ 268 h 507"/>
              <a:gd name="T88" fmla="*/ 214 w 707"/>
              <a:gd name="T89" fmla="*/ 428 h 507"/>
              <a:gd name="T90" fmla="*/ 215 w 707"/>
              <a:gd name="T91" fmla="*/ 430 h 507"/>
              <a:gd name="T92" fmla="*/ 235 w 707"/>
              <a:gd name="T93" fmla="*/ 495 h 507"/>
              <a:gd name="T94" fmla="*/ 267 w 707"/>
              <a:gd name="T95" fmla="*/ 506 h 507"/>
              <a:gd name="T96" fmla="*/ 271 w 707"/>
              <a:gd name="T97" fmla="*/ 502 h 507"/>
              <a:gd name="T98" fmla="*/ 272 w 707"/>
              <a:gd name="T99" fmla="*/ 471 h 507"/>
              <a:gd name="T100" fmla="*/ 265 w 707"/>
              <a:gd name="T101" fmla="*/ 297 h 507"/>
              <a:gd name="T102" fmla="*/ 309 w 707"/>
              <a:gd name="T103" fmla="*/ 321 h 507"/>
              <a:gd name="T104" fmla="*/ 525 w 707"/>
              <a:gd name="T105" fmla="*/ 433 h 507"/>
              <a:gd name="T106" fmla="*/ 535 w 707"/>
              <a:gd name="T107" fmla="*/ 427 h 507"/>
              <a:gd name="T108" fmla="*/ 688 w 707"/>
              <a:gd name="T109" fmla="*/ 350 h 507"/>
              <a:gd name="T110" fmla="*/ 696 w 707"/>
              <a:gd name="T111" fmla="*/ 26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07" h="507">
                <a:moveTo>
                  <a:pt x="696" y="260"/>
                </a:moveTo>
                <a:cubicBezTo>
                  <a:pt x="696" y="260"/>
                  <a:pt x="690" y="257"/>
                  <a:pt x="690" y="257"/>
                </a:cubicBezTo>
                <a:cubicBezTo>
                  <a:pt x="669" y="236"/>
                  <a:pt x="640" y="227"/>
                  <a:pt x="601" y="229"/>
                </a:cubicBezTo>
                <a:cubicBezTo>
                  <a:pt x="569" y="231"/>
                  <a:pt x="543" y="244"/>
                  <a:pt x="523" y="256"/>
                </a:cubicBezTo>
                <a:cubicBezTo>
                  <a:pt x="523" y="255"/>
                  <a:pt x="523" y="255"/>
                  <a:pt x="523" y="255"/>
                </a:cubicBezTo>
                <a:cubicBezTo>
                  <a:pt x="523" y="245"/>
                  <a:pt x="524" y="234"/>
                  <a:pt x="526" y="223"/>
                </a:cubicBezTo>
                <a:cubicBezTo>
                  <a:pt x="527" y="212"/>
                  <a:pt x="528" y="201"/>
                  <a:pt x="528" y="191"/>
                </a:cubicBezTo>
                <a:cubicBezTo>
                  <a:pt x="528" y="180"/>
                  <a:pt x="527" y="170"/>
                  <a:pt x="523" y="161"/>
                </a:cubicBezTo>
                <a:cubicBezTo>
                  <a:pt x="522" y="159"/>
                  <a:pt x="520" y="158"/>
                  <a:pt x="517" y="158"/>
                </a:cubicBezTo>
                <a:cubicBezTo>
                  <a:pt x="507" y="158"/>
                  <a:pt x="487" y="165"/>
                  <a:pt x="482" y="170"/>
                </a:cubicBezTo>
                <a:cubicBezTo>
                  <a:pt x="482" y="170"/>
                  <a:pt x="479" y="175"/>
                  <a:pt x="479" y="175"/>
                </a:cubicBezTo>
                <a:cubicBezTo>
                  <a:pt x="479" y="187"/>
                  <a:pt x="476" y="219"/>
                  <a:pt x="474" y="223"/>
                </a:cubicBezTo>
                <a:cubicBezTo>
                  <a:pt x="474" y="223"/>
                  <a:pt x="472" y="227"/>
                  <a:pt x="472" y="227"/>
                </a:cubicBezTo>
                <a:cubicBezTo>
                  <a:pt x="468" y="273"/>
                  <a:pt x="468" y="314"/>
                  <a:pt x="472" y="349"/>
                </a:cubicBezTo>
                <a:cubicBezTo>
                  <a:pt x="472" y="352"/>
                  <a:pt x="479" y="357"/>
                  <a:pt x="484" y="359"/>
                </a:cubicBezTo>
                <a:cubicBezTo>
                  <a:pt x="490" y="361"/>
                  <a:pt x="508" y="357"/>
                  <a:pt x="518" y="353"/>
                </a:cubicBezTo>
                <a:cubicBezTo>
                  <a:pt x="518" y="353"/>
                  <a:pt x="522" y="352"/>
                  <a:pt x="522" y="352"/>
                </a:cubicBezTo>
                <a:cubicBezTo>
                  <a:pt x="525" y="352"/>
                  <a:pt x="527" y="349"/>
                  <a:pt x="527" y="345"/>
                </a:cubicBezTo>
                <a:cubicBezTo>
                  <a:pt x="527" y="345"/>
                  <a:pt x="527" y="335"/>
                  <a:pt x="527" y="335"/>
                </a:cubicBezTo>
                <a:cubicBezTo>
                  <a:pt x="534" y="305"/>
                  <a:pt x="564" y="269"/>
                  <a:pt x="600" y="264"/>
                </a:cubicBezTo>
                <a:cubicBezTo>
                  <a:pt x="620" y="261"/>
                  <a:pt x="636" y="266"/>
                  <a:pt x="648" y="280"/>
                </a:cubicBezTo>
                <a:cubicBezTo>
                  <a:pt x="650" y="282"/>
                  <a:pt x="653" y="304"/>
                  <a:pt x="640" y="329"/>
                </a:cubicBezTo>
                <a:cubicBezTo>
                  <a:pt x="630" y="347"/>
                  <a:pt x="611" y="362"/>
                  <a:pt x="585" y="372"/>
                </a:cubicBezTo>
                <a:cubicBezTo>
                  <a:pt x="560" y="381"/>
                  <a:pt x="534" y="385"/>
                  <a:pt x="500" y="384"/>
                </a:cubicBezTo>
                <a:cubicBezTo>
                  <a:pt x="499" y="383"/>
                  <a:pt x="469" y="363"/>
                  <a:pt x="469" y="363"/>
                </a:cubicBezTo>
                <a:cubicBezTo>
                  <a:pt x="443" y="345"/>
                  <a:pt x="410" y="321"/>
                  <a:pt x="380" y="310"/>
                </a:cubicBezTo>
                <a:cubicBezTo>
                  <a:pt x="375" y="308"/>
                  <a:pt x="366" y="300"/>
                  <a:pt x="360" y="296"/>
                </a:cubicBezTo>
                <a:cubicBezTo>
                  <a:pt x="357" y="293"/>
                  <a:pt x="357" y="293"/>
                  <a:pt x="357" y="293"/>
                </a:cubicBezTo>
                <a:cubicBezTo>
                  <a:pt x="340" y="280"/>
                  <a:pt x="307" y="258"/>
                  <a:pt x="281" y="240"/>
                </a:cubicBezTo>
                <a:cubicBezTo>
                  <a:pt x="281" y="240"/>
                  <a:pt x="269" y="232"/>
                  <a:pt x="267" y="231"/>
                </a:cubicBezTo>
                <a:cubicBezTo>
                  <a:pt x="267" y="230"/>
                  <a:pt x="267" y="228"/>
                  <a:pt x="267" y="228"/>
                </a:cubicBezTo>
                <a:cubicBezTo>
                  <a:pt x="268" y="227"/>
                  <a:pt x="284" y="217"/>
                  <a:pt x="284" y="217"/>
                </a:cubicBezTo>
                <a:cubicBezTo>
                  <a:pt x="307" y="204"/>
                  <a:pt x="318" y="197"/>
                  <a:pt x="320" y="194"/>
                </a:cubicBezTo>
                <a:cubicBezTo>
                  <a:pt x="320" y="194"/>
                  <a:pt x="323" y="192"/>
                  <a:pt x="323" y="192"/>
                </a:cubicBezTo>
                <a:cubicBezTo>
                  <a:pt x="324" y="192"/>
                  <a:pt x="380" y="160"/>
                  <a:pt x="380" y="160"/>
                </a:cubicBezTo>
                <a:cubicBezTo>
                  <a:pt x="435" y="130"/>
                  <a:pt x="497" y="95"/>
                  <a:pt x="530" y="62"/>
                </a:cubicBezTo>
                <a:cubicBezTo>
                  <a:pt x="530" y="62"/>
                  <a:pt x="531" y="57"/>
                  <a:pt x="531" y="57"/>
                </a:cubicBezTo>
                <a:cubicBezTo>
                  <a:pt x="532" y="52"/>
                  <a:pt x="532" y="52"/>
                  <a:pt x="532" y="52"/>
                </a:cubicBezTo>
                <a:cubicBezTo>
                  <a:pt x="534" y="45"/>
                  <a:pt x="534" y="39"/>
                  <a:pt x="533" y="33"/>
                </a:cubicBezTo>
                <a:cubicBezTo>
                  <a:pt x="532" y="31"/>
                  <a:pt x="531" y="29"/>
                  <a:pt x="528" y="28"/>
                </a:cubicBezTo>
                <a:cubicBezTo>
                  <a:pt x="503" y="26"/>
                  <a:pt x="470" y="41"/>
                  <a:pt x="440" y="69"/>
                </a:cubicBezTo>
                <a:cubicBezTo>
                  <a:pt x="433" y="76"/>
                  <a:pt x="428" y="79"/>
                  <a:pt x="422" y="82"/>
                </a:cubicBezTo>
                <a:cubicBezTo>
                  <a:pt x="417" y="84"/>
                  <a:pt x="417" y="84"/>
                  <a:pt x="417" y="84"/>
                </a:cubicBezTo>
                <a:cubicBezTo>
                  <a:pt x="384" y="103"/>
                  <a:pt x="310" y="149"/>
                  <a:pt x="271" y="174"/>
                </a:cubicBezTo>
                <a:cubicBezTo>
                  <a:pt x="274" y="132"/>
                  <a:pt x="281" y="73"/>
                  <a:pt x="291" y="23"/>
                </a:cubicBezTo>
                <a:cubicBezTo>
                  <a:pt x="290" y="17"/>
                  <a:pt x="290" y="17"/>
                  <a:pt x="290" y="17"/>
                </a:cubicBezTo>
                <a:cubicBezTo>
                  <a:pt x="290" y="17"/>
                  <a:pt x="286" y="10"/>
                  <a:pt x="286" y="10"/>
                </a:cubicBezTo>
                <a:cubicBezTo>
                  <a:pt x="283" y="5"/>
                  <a:pt x="283" y="5"/>
                  <a:pt x="283" y="5"/>
                </a:cubicBezTo>
                <a:cubicBezTo>
                  <a:pt x="282" y="4"/>
                  <a:pt x="282" y="4"/>
                  <a:pt x="282" y="4"/>
                </a:cubicBezTo>
                <a:cubicBezTo>
                  <a:pt x="274" y="0"/>
                  <a:pt x="268" y="2"/>
                  <a:pt x="263" y="3"/>
                </a:cubicBezTo>
                <a:cubicBezTo>
                  <a:pt x="255" y="6"/>
                  <a:pt x="255" y="6"/>
                  <a:pt x="255" y="6"/>
                </a:cubicBezTo>
                <a:cubicBezTo>
                  <a:pt x="245" y="10"/>
                  <a:pt x="245" y="10"/>
                  <a:pt x="245" y="10"/>
                </a:cubicBezTo>
                <a:cubicBezTo>
                  <a:pt x="243" y="10"/>
                  <a:pt x="242" y="11"/>
                  <a:pt x="241" y="13"/>
                </a:cubicBezTo>
                <a:cubicBezTo>
                  <a:pt x="222" y="58"/>
                  <a:pt x="207" y="132"/>
                  <a:pt x="203" y="191"/>
                </a:cubicBezTo>
                <a:cubicBezTo>
                  <a:pt x="166" y="167"/>
                  <a:pt x="132" y="151"/>
                  <a:pt x="115" y="142"/>
                </a:cubicBezTo>
                <a:cubicBezTo>
                  <a:pt x="114" y="142"/>
                  <a:pt x="114" y="142"/>
                  <a:pt x="114" y="142"/>
                </a:cubicBezTo>
                <a:cubicBezTo>
                  <a:pt x="112" y="142"/>
                  <a:pt x="112" y="142"/>
                  <a:pt x="112" y="142"/>
                </a:cubicBezTo>
                <a:cubicBezTo>
                  <a:pt x="106" y="141"/>
                  <a:pt x="99" y="136"/>
                  <a:pt x="92" y="132"/>
                </a:cubicBezTo>
                <a:cubicBezTo>
                  <a:pt x="91" y="132"/>
                  <a:pt x="78" y="123"/>
                  <a:pt x="78" y="123"/>
                </a:cubicBezTo>
                <a:cubicBezTo>
                  <a:pt x="56" y="109"/>
                  <a:pt x="56" y="109"/>
                  <a:pt x="56" y="109"/>
                </a:cubicBezTo>
                <a:cubicBezTo>
                  <a:pt x="56" y="109"/>
                  <a:pt x="51" y="108"/>
                  <a:pt x="51" y="108"/>
                </a:cubicBezTo>
                <a:cubicBezTo>
                  <a:pt x="41" y="109"/>
                  <a:pt x="24" y="121"/>
                  <a:pt x="18" y="130"/>
                </a:cubicBezTo>
                <a:cubicBezTo>
                  <a:pt x="18" y="131"/>
                  <a:pt x="17" y="132"/>
                  <a:pt x="17" y="133"/>
                </a:cubicBezTo>
                <a:cubicBezTo>
                  <a:pt x="17" y="135"/>
                  <a:pt x="18" y="136"/>
                  <a:pt x="18" y="138"/>
                </a:cubicBezTo>
                <a:cubicBezTo>
                  <a:pt x="19" y="143"/>
                  <a:pt x="19" y="143"/>
                  <a:pt x="19" y="143"/>
                </a:cubicBezTo>
                <a:cubicBezTo>
                  <a:pt x="20" y="145"/>
                  <a:pt x="20" y="145"/>
                  <a:pt x="20" y="145"/>
                </a:cubicBezTo>
                <a:cubicBezTo>
                  <a:pt x="31" y="156"/>
                  <a:pt x="57" y="173"/>
                  <a:pt x="82" y="187"/>
                </a:cubicBezTo>
                <a:cubicBezTo>
                  <a:pt x="112" y="203"/>
                  <a:pt x="112" y="203"/>
                  <a:pt x="112" y="203"/>
                </a:cubicBezTo>
                <a:cubicBezTo>
                  <a:pt x="157" y="228"/>
                  <a:pt x="157" y="228"/>
                  <a:pt x="157" y="228"/>
                </a:cubicBezTo>
                <a:cubicBezTo>
                  <a:pt x="157" y="228"/>
                  <a:pt x="165" y="234"/>
                  <a:pt x="165" y="234"/>
                </a:cubicBezTo>
                <a:cubicBezTo>
                  <a:pt x="170" y="237"/>
                  <a:pt x="170" y="237"/>
                  <a:pt x="170" y="237"/>
                </a:cubicBezTo>
                <a:cubicBezTo>
                  <a:pt x="170" y="237"/>
                  <a:pt x="171" y="237"/>
                  <a:pt x="171" y="237"/>
                </a:cubicBezTo>
                <a:cubicBezTo>
                  <a:pt x="159" y="245"/>
                  <a:pt x="89" y="292"/>
                  <a:pt x="89" y="292"/>
                </a:cubicBezTo>
                <a:cubicBezTo>
                  <a:pt x="45" y="321"/>
                  <a:pt x="45" y="321"/>
                  <a:pt x="45" y="321"/>
                </a:cubicBezTo>
                <a:cubicBezTo>
                  <a:pt x="41" y="324"/>
                  <a:pt x="24" y="332"/>
                  <a:pt x="20" y="333"/>
                </a:cubicBezTo>
                <a:cubicBezTo>
                  <a:pt x="11" y="337"/>
                  <a:pt x="4" y="343"/>
                  <a:pt x="1" y="349"/>
                </a:cubicBezTo>
                <a:cubicBezTo>
                  <a:pt x="0" y="352"/>
                  <a:pt x="0" y="352"/>
                  <a:pt x="0" y="352"/>
                </a:cubicBezTo>
                <a:cubicBezTo>
                  <a:pt x="1" y="353"/>
                  <a:pt x="1" y="353"/>
                  <a:pt x="1" y="353"/>
                </a:cubicBezTo>
                <a:cubicBezTo>
                  <a:pt x="4" y="356"/>
                  <a:pt x="4" y="356"/>
                  <a:pt x="4" y="356"/>
                </a:cubicBezTo>
                <a:cubicBezTo>
                  <a:pt x="4" y="356"/>
                  <a:pt x="9" y="359"/>
                  <a:pt x="9" y="359"/>
                </a:cubicBezTo>
                <a:cubicBezTo>
                  <a:pt x="13" y="362"/>
                  <a:pt x="13" y="362"/>
                  <a:pt x="13" y="362"/>
                </a:cubicBezTo>
                <a:cubicBezTo>
                  <a:pt x="14" y="362"/>
                  <a:pt x="18" y="363"/>
                  <a:pt x="18" y="363"/>
                </a:cubicBezTo>
                <a:cubicBezTo>
                  <a:pt x="26" y="363"/>
                  <a:pt x="37" y="359"/>
                  <a:pt x="58" y="350"/>
                </a:cubicBezTo>
                <a:cubicBezTo>
                  <a:pt x="77" y="341"/>
                  <a:pt x="130" y="309"/>
                  <a:pt x="153" y="296"/>
                </a:cubicBezTo>
                <a:cubicBezTo>
                  <a:pt x="162" y="290"/>
                  <a:pt x="162" y="290"/>
                  <a:pt x="162" y="290"/>
                </a:cubicBezTo>
                <a:cubicBezTo>
                  <a:pt x="166" y="290"/>
                  <a:pt x="171" y="287"/>
                  <a:pt x="174" y="284"/>
                </a:cubicBezTo>
                <a:cubicBezTo>
                  <a:pt x="179" y="280"/>
                  <a:pt x="189" y="274"/>
                  <a:pt x="195" y="272"/>
                </a:cubicBezTo>
                <a:cubicBezTo>
                  <a:pt x="195" y="272"/>
                  <a:pt x="198" y="270"/>
                  <a:pt x="202" y="268"/>
                </a:cubicBezTo>
                <a:cubicBezTo>
                  <a:pt x="202" y="269"/>
                  <a:pt x="202" y="270"/>
                  <a:pt x="202" y="270"/>
                </a:cubicBezTo>
                <a:cubicBezTo>
                  <a:pt x="203" y="339"/>
                  <a:pt x="206" y="389"/>
                  <a:pt x="214" y="428"/>
                </a:cubicBezTo>
                <a:cubicBezTo>
                  <a:pt x="214" y="429"/>
                  <a:pt x="214" y="429"/>
                  <a:pt x="214" y="429"/>
                </a:cubicBezTo>
                <a:cubicBezTo>
                  <a:pt x="215" y="430"/>
                  <a:pt x="215" y="430"/>
                  <a:pt x="215" y="430"/>
                </a:cubicBezTo>
                <a:cubicBezTo>
                  <a:pt x="219" y="436"/>
                  <a:pt x="223" y="452"/>
                  <a:pt x="227" y="466"/>
                </a:cubicBezTo>
                <a:cubicBezTo>
                  <a:pt x="235" y="495"/>
                  <a:pt x="235" y="495"/>
                  <a:pt x="235" y="495"/>
                </a:cubicBezTo>
                <a:cubicBezTo>
                  <a:pt x="235" y="495"/>
                  <a:pt x="238" y="498"/>
                  <a:pt x="238" y="498"/>
                </a:cubicBezTo>
                <a:cubicBezTo>
                  <a:pt x="242" y="501"/>
                  <a:pt x="257" y="507"/>
                  <a:pt x="267" y="506"/>
                </a:cubicBezTo>
                <a:cubicBezTo>
                  <a:pt x="270" y="505"/>
                  <a:pt x="270" y="505"/>
                  <a:pt x="270" y="505"/>
                </a:cubicBezTo>
                <a:cubicBezTo>
                  <a:pt x="271" y="502"/>
                  <a:pt x="271" y="502"/>
                  <a:pt x="271" y="502"/>
                </a:cubicBezTo>
                <a:cubicBezTo>
                  <a:pt x="272" y="498"/>
                  <a:pt x="272" y="493"/>
                  <a:pt x="272" y="489"/>
                </a:cubicBezTo>
                <a:cubicBezTo>
                  <a:pt x="272" y="483"/>
                  <a:pt x="272" y="478"/>
                  <a:pt x="272" y="471"/>
                </a:cubicBezTo>
                <a:cubicBezTo>
                  <a:pt x="271" y="460"/>
                  <a:pt x="271" y="460"/>
                  <a:pt x="271" y="460"/>
                </a:cubicBezTo>
                <a:cubicBezTo>
                  <a:pt x="268" y="412"/>
                  <a:pt x="265" y="343"/>
                  <a:pt x="265" y="297"/>
                </a:cubicBezTo>
                <a:cubicBezTo>
                  <a:pt x="265" y="295"/>
                  <a:pt x="265" y="294"/>
                  <a:pt x="265" y="293"/>
                </a:cubicBezTo>
                <a:cubicBezTo>
                  <a:pt x="273" y="298"/>
                  <a:pt x="309" y="321"/>
                  <a:pt x="309" y="321"/>
                </a:cubicBezTo>
                <a:cubicBezTo>
                  <a:pt x="369" y="360"/>
                  <a:pt x="461" y="420"/>
                  <a:pt x="517" y="435"/>
                </a:cubicBezTo>
                <a:cubicBezTo>
                  <a:pt x="520" y="436"/>
                  <a:pt x="523" y="436"/>
                  <a:pt x="525" y="433"/>
                </a:cubicBezTo>
                <a:cubicBezTo>
                  <a:pt x="525" y="433"/>
                  <a:pt x="533" y="428"/>
                  <a:pt x="533" y="428"/>
                </a:cubicBezTo>
                <a:cubicBezTo>
                  <a:pt x="535" y="427"/>
                  <a:pt x="535" y="427"/>
                  <a:pt x="535" y="427"/>
                </a:cubicBezTo>
                <a:cubicBezTo>
                  <a:pt x="538" y="426"/>
                  <a:pt x="540" y="420"/>
                  <a:pt x="541" y="415"/>
                </a:cubicBezTo>
                <a:cubicBezTo>
                  <a:pt x="587" y="412"/>
                  <a:pt x="653" y="394"/>
                  <a:pt x="688" y="350"/>
                </a:cubicBezTo>
                <a:cubicBezTo>
                  <a:pt x="701" y="333"/>
                  <a:pt x="707" y="312"/>
                  <a:pt x="707" y="295"/>
                </a:cubicBezTo>
                <a:cubicBezTo>
                  <a:pt x="707" y="280"/>
                  <a:pt x="703" y="267"/>
                  <a:pt x="696" y="260"/>
                </a:cubicBezTo>
              </a:path>
            </a:pathLst>
          </a:custGeom>
          <a:solidFill>
            <a:srgbClr val="FFBC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endParaRPr lang="ko-KR" altLang="en-US" sz="1000" spc="-50">
              <a:solidFill>
                <a:prstClr val="black">
                  <a:lumMod val="75000"/>
                  <a:lumOff val="2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62" name="그룹 61"/>
          <p:cNvGrpSpPr/>
          <p:nvPr userDrawn="1"/>
        </p:nvGrpSpPr>
        <p:grpSpPr>
          <a:xfrm>
            <a:off x="0" y="728700"/>
            <a:ext cx="323851" cy="216024"/>
            <a:chOff x="-987660" y="1016732"/>
            <a:chExt cx="323851" cy="216024"/>
          </a:xfrm>
        </p:grpSpPr>
        <p:sp>
          <p:nvSpPr>
            <p:cNvPr id="63" name="직사각형 62"/>
            <p:cNvSpPr/>
            <p:nvPr/>
          </p:nvSpPr>
          <p:spPr>
            <a:xfrm>
              <a:off x="-987660" y="1016732"/>
              <a:ext cx="308484" cy="216024"/>
            </a:xfrm>
            <a:prstGeom prst="rect">
              <a:avLst/>
            </a:prstGeom>
            <a:solidFill>
              <a:srgbClr val="FFF4D5"/>
            </a:solidFill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endParaRPr lang="ko-KR" altLang="en-US" sz="1000" spc="-5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-692609" y="1016732"/>
              <a:ext cx="28800" cy="216000"/>
            </a:xfrm>
            <a:prstGeom prst="rect">
              <a:avLst/>
            </a:prstGeom>
            <a:solidFill>
              <a:srgbClr val="FFB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grpSp>
        <p:nvGrpSpPr>
          <p:cNvPr id="66" name="그룹 65"/>
          <p:cNvGrpSpPr/>
          <p:nvPr userDrawn="1"/>
        </p:nvGrpSpPr>
        <p:grpSpPr>
          <a:xfrm>
            <a:off x="77325" y="442764"/>
            <a:ext cx="169200" cy="4448259"/>
            <a:chOff x="77325" y="456905"/>
            <a:chExt cx="169200" cy="4448259"/>
          </a:xfrm>
        </p:grpSpPr>
        <p:sp>
          <p:nvSpPr>
            <p:cNvPr id="67" name="TextBox 66"/>
            <p:cNvSpPr txBox="1"/>
            <p:nvPr/>
          </p:nvSpPr>
          <p:spPr>
            <a:xfrm>
              <a:off x="77325" y="762547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000" spc="-50">
                  <a:solidFill>
                    <a:schemeClr val="bg1"/>
                  </a:solidFill>
                  <a:latin typeface="KB금융 본문체 Medium" panose="020B0603000000000000" pitchFamily="50" charset="-127"/>
                  <a:ea typeface="KB금융 본문체 Medium" panose="020B0603000000000000" pitchFamily="50" charset="-127"/>
                </a:defRPr>
              </a:lvl1pPr>
            </a:lstStyle>
            <a:p>
              <a:pPr marL="0" algn="ctr" defTabSz="914400" rtl="0" eaLnBrk="1" latinLnBrk="1" hangingPunct="1"/>
              <a:r>
                <a:rPr lang="en-US" altLang="ko-KR" sz="1000" kern="12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II</a:t>
              </a:r>
              <a:endParaRPr lang="ko-KR" altLang="en-US" sz="1000" kern="12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77325" y="1068189"/>
              <a:ext cx="169200" cy="169277"/>
            </a:xfrm>
            <a:prstGeom prst="ellipse">
              <a:avLst/>
            </a:prstGeom>
            <a:noFill/>
            <a:effectLst/>
          </p:spPr>
          <p:txBody>
            <a:bodyPr wrap="none" lIns="36000" tIns="36000" rIns="36000" bIns="3600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000" spc="-50">
                  <a:solidFill>
                    <a:schemeClr val="tx1">
                      <a:lumMod val="75000"/>
                      <a:lumOff val="25000"/>
                    </a:schemeClr>
                  </a:solidFill>
                  <a:latin typeface="KB금융 본문체 Medium" panose="020B0603000000000000" pitchFamily="50" charset="-127"/>
                  <a:ea typeface="KB금융 본문체 Medium" panose="020B0603000000000000" pitchFamily="50" charset="-127"/>
                </a:defRPr>
              </a:lvl1pPr>
            </a:lstStyle>
            <a:p>
              <a:pPr marL="0" algn="ctr" defTabSz="914400" rtl="0" eaLnBrk="1" latinLnBrk="1" hangingPunct="1"/>
              <a:r>
                <a:rPr lang="en-US" altLang="ko-KR" sz="1000" kern="12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III</a:t>
              </a:r>
              <a:endParaRPr lang="ko-KR" altLang="en-US" sz="1000" kern="12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7325" y="1373831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marL="0" algn="ctr" defTabSz="914400" rtl="0" eaLnBrk="1" latinLnBrk="1" hangingPunct="1"/>
              <a:r>
                <a:rPr lang="en-US" altLang="ko-KR" sz="1000" b="1" kern="1200" spc="-50">
                  <a:solidFill>
                    <a:prstClr val="black">
                      <a:lumMod val="85000"/>
                      <a:lumOff val="1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IV</a:t>
              </a:r>
              <a:endParaRPr lang="ko-KR" altLang="en-US" sz="1000" b="1" kern="1200" spc="-50">
                <a:solidFill>
                  <a:prstClr val="black">
                    <a:lumMod val="85000"/>
                    <a:lumOff val="1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77325" y="1679473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V</a:t>
              </a:r>
              <a:endParaRPr lang="ko-KR" altLang="en-US" sz="10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77325" y="1985115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marL="0" algn="ctr" defTabSz="914400" rtl="0" eaLnBrk="1" latinLnBrk="1" hangingPunct="1"/>
              <a:r>
                <a:rPr lang="en-US" altLang="ko-KR" sz="1000" kern="12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VI</a:t>
              </a:r>
              <a:endParaRPr lang="ko-KR" altLang="en-US" sz="1000" kern="12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7325" y="2290757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9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VII</a:t>
              </a:r>
              <a:endParaRPr lang="ko-KR" altLang="en-US" sz="1000" spc="-9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77325" y="2596399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9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VIII</a:t>
              </a:r>
              <a:endParaRPr lang="ko-KR" altLang="en-US" sz="1000" spc="-9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77325" y="2902041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IX</a:t>
              </a:r>
              <a:endParaRPr lang="ko-KR" altLang="en-US" sz="10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7325" y="3207683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X</a:t>
              </a:r>
              <a:endParaRPr lang="ko-KR" altLang="en-US" sz="10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7325" y="3513325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XI</a:t>
              </a:r>
              <a:endParaRPr lang="ko-KR" altLang="en-US" sz="10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77325" y="3818967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XII</a:t>
              </a:r>
              <a:endParaRPr lang="ko-KR" altLang="en-US" sz="10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77325" y="4124609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9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XIII</a:t>
              </a:r>
              <a:endParaRPr lang="ko-KR" altLang="en-US" sz="1000" spc="-9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7325" y="4430251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9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XIV</a:t>
              </a:r>
              <a:endParaRPr lang="ko-KR" altLang="en-US" sz="1000" spc="-9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77325" y="4735887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/>
            <a:p>
              <a:pPr algn="ctr"/>
              <a:r>
                <a:rPr lang="en-US" altLang="ko-KR" sz="10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XV</a:t>
              </a:r>
              <a:endParaRPr lang="ko-KR" altLang="en-US" sz="1000" spc="-5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77325" y="456905"/>
              <a:ext cx="169200" cy="169277"/>
            </a:xfrm>
            <a:prstGeom prst="ellipse">
              <a:avLst/>
            </a:prstGeom>
            <a:noFill/>
          </p:spPr>
          <p:txBody>
            <a:bodyPr wrap="none" lIns="36000" tIns="36000" rIns="36000" bIns="3600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000" spc="-50">
                  <a:solidFill>
                    <a:schemeClr val="bg1"/>
                  </a:solidFill>
                  <a:latin typeface="KB금융 본문체 Medium" panose="020B0603000000000000" pitchFamily="50" charset="-127"/>
                  <a:ea typeface="KB금융 본문체 Medium" panose="020B0603000000000000" pitchFamily="50" charset="-127"/>
                </a:defRPr>
              </a:lvl1pPr>
            </a:lstStyle>
            <a:p>
              <a:r>
                <a:rPr lang="en-US" altLang="ko-KR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I</a:t>
              </a:r>
              <a:endParaRPr lang="ko-KR" altLang="en-US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82" name="Text Box 175"/>
          <p:cNvSpPr txBox="1">
            <a:spLocks noChangeArrowheads="1"/>
          </p:cNvSpPr>
          <p:nvPr userDrawn="1"/>
        </p:nvSpPr>
        <p:spPr bwMode="auto">
          <a:xfrm>
            <a:off x="4847201" y="6688750"/>
            <a:ext cx="520083" cy="131405"/>
          </a:xfrm>
          <a:prstGeom prst="rect">
            <a:avLst/>
          </a:prstGeom>
          <a:noFill/>
          <a:ln>
            <a:noFill/>
          </a:ln>
        </p:spPr>
        <p:txBody>
          <a:bodyPr wrap="square" lIns="4107" tIns="4107" rIns="4107" bIns="4107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ko-KR" sz="80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V - </a:t>
            </a:r>
            <a:fld id="{FB060813-65A2-4128-B661-9DCFBA4376B9}" type="slidenum">
              <a:rPr lang="en-US" altLang="ko-KR" sz="800" smtClean="0">
                <a:solidFill>
                  <a:prstClr val="black">
                    <a:lumMod val="65000"/>
                    <a:lumOff val="35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ko-KR" sz="800">
              <a:solidFill>
                <a:prstClr val="black">
                  <a:lumMod val="65000"/>
                  <a:lumOff val="35000"/>
                </a:prst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3" name="Text Box 175"/>
          <p:cNvSpPr txBox="1">
            <a:spLocks noChangeArrowheads="1"/>
          </p:cNvSpPr>
          <p:nvPr userDrawn="1"/>
        </p:nvSpPr>
        <p:spPr bwMode="auto">
          <a:xfrm>
            <a:off x="471330" y="6696444"/>
            <a:ext cx="2976693" cy="116016"/>
          </a:xfrm>
          <a:prstGeom prst="rect">
            <a:avLst/>
          </a:prstGeom>
          <a:noFill/>
          <a:ln>
            <a:noFill/>
          </a:ln>
        </p:spPr>
        <p:txBody>
          <a:bodyPr wrap="square" lIns="4107" tIns="4107" rIns="4107" bIns="4107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ko-KR" sz="700">
                <a:solidFill>
                  <a:prstClr val="white">
                    <a:lumMod val="50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Copyright</a:t>
            </a:r>
            <a:r>
              <a:rPr lang="ko-KR" altLang="en-US" sz="700">
                <a:solidFill>
                  <a:prstClr val="white">
                    <a:lumMod val="50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ⓒ</a:t>
            </a:r>
            <a:r>
              <a:rPr lang="en-US" altLang="ko-KR" sz="700">
                <a:solidFill>
                  <a:prstClr val="white">
                    <a:lumMod val="50000"/>
                  </a:prst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2022 KB DATA SYSTEMS. All right reserved.</a:t>
            </a:r>
          </a:p>
        </p:txBody>
      </p:sp>
      <p:pic>
        <p:nvPicPr>
          <p:cNvPr id="84" name="그림 8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962" y="6680764"/>
            <a:ext cx="899191" cy="121320"/>
          </a:xfrm>
          <a:prstGeom prst="rect">
            <a:avLst/>
          </a:prstGeom>
        </p:spPr>
      </p:pic>
      <p:grpSp>
        <p:nvGrpSpPr>
          <p:cNvPr id="85" name="그룹 84"/>
          <p:cNvGrpSpPr/>
          <p:nvPr userDrawn="1"/>
        </p:nvGrpSpPr>
        <p:grpSpPr>
          <a:xfrm>
            <a:off x="1907754" y="85725"/>
            <a:ext cx="1311696" cy="266699"/>
            <a:chOff x="1907754" y="85725"/>
            <a:chExt cx="1311696" cy="266699"/>
          </a:xfrm>
        </p:grpSpPr>
        <p:sp>
          <p:nvSpPr>
            <p:cNvPr id="86" name="양쪽 모서리가 둥근 사각형 85"/>
            <p:cNvSpPr/>
            <p:nvPr/>
          </p:nvSpPr>
          <p:spPr>
            <a:xfrm>
              <a:off x="1907754" y="85725"/>
              <a:ext cx="1311696" cy="266699"/>
            </a:xfrm>
            <a:prstGeom prst="round2SameRect">
              <a:avLst/>
            </a:prstGeom>
            <a:solidFill>
              <a:srgbClr val="FFCA3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2251496" y="151655"/>
              <a:ext cx="62421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US" altLang="ko-KR" sz="1000" b="1" spc="-3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I </a:t>
              </a:r>
              <a:r>
                <a:rPr lang="en-US" altLang="ko-KR" sz="1000" b="1" spc="-30" err="1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I</a:t>
              </a:r>
              <a:r>
                <a:rPr lang="en-US" altLang="ko-KR" sz="1000" b="1" spc="-3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. </a:t>
              </a:r>
              <a:r>
                <a:rPr lang="ko-KR" altLang="en-US" sz="1000" b="1" spc="-30" err="1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수행방안</a:t>
              </a:r>
              <a:endParaRPr lang="ko-KR" altLang="en-US" sz="1000" b="1" spc="-3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pic>
        <p:nvPicPr>
          <p:cNvPr id="37" name="그림 36"/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329" y="121747"/>
            <a:ext cx="1077361" cy="1750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8" name="그룹 37"/>
          <p:cNvGrpSpPr/>
          <p:nvPr userDrawn="1"/>
        </p:nvGrpSpPr>
        <p:grpSpPr>
          <a:xfrm>
            <a:off x="7552963" y="85726"/>
            <a:ext cx="2190191" cy="177800"/>
            <a:chOff x="7477125" y="85726"/>
            <a:chExt cx="2190191" cy="177800"/>
          </a:xfrm>
        </p:grpSpPr>
        <p:grpSp>
          <p:nvGrpSpPr>
            <p:cNvPr id="39" name="그룹 38"/>
            <p:cNvGrpSpPr/>
            <p:nvPr/>
          </p:nvGrpSpPr>
          <p:grpSpPr>
            <a:xfrm>
              <a:off x="7477125" y="85726"/>
              <a:ext cx="2190191" cy="177800"/>
              <a:chOff x="7477125" y="85726"/>
              <a:chExt cx="2190191" cy="177800"/>
            </a:xfrm>
          </p:grpSpPr>
          <p:sp>
            <p:nvSpPr>
              <p:cNvPr id="42" name="모서리가 둥근 직사각형 41"/>
              <p:cNvSpPr/>
              <p:nvPr/>
            </p:nvSpPr>
            <p:spPr>
              <a:xfrm>
                <a:off x="7477125" y="85726"/>
                <a:ext cx="2190191" cy="1778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solidFill>
                  <a:srgbClr val="FFE5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100">
                  <a:solidFill>
                    <a:prstClr val="black">
                      <a:lumMod val="75000"/>
                      <a:lumOff val="2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43" name="Freeform 44"/>
              <p:cNvSpPr>
                <a:spLocks noEditPoints="1"/>
              </p:cNvSpPr>
              <p:nvPr/>
            </p:nvSpPr>
            <p:spPr bwMode="auto">
              <a:xfrm>
                <a:off x="9507615" y="121929"/>
                <a:ext cx="106136" cy="105394"/>
              </a:xfrm>
              <a:custGeom>
                <a:avLst/>
                <a:gdLst>
                  <a:gd name="T0" fmla="*/ 276 w 280"/>
                  <a:gd name="T1" fmla="*/ 263 h 278"/>
                  <a:gd name="T2" fmla="*/ 216 w 280"/>
                  <a:gd name="T3" fmla="*/ 203 h 278"/>
                  <a:gd name="T4" fmla="*/ 246 w 280"/>
                  <a:gd name="T5" fmla="*/ 123 h 278"/>
                  <a:gd name="T6" fmla="*/ 123 w 280"/>
                  <a:gd name="T7" fmla="*/ 0 h 278"/>
                  <a:gd name="T8" fmla="*/ 0 w 280"/>
                  <a:gd name="T9" fmla="*/ 123 h 278"/>
                  <a:gd name="T10" fmla="*/ 123 w 280"/>
                  <a:gd name="T11" fmla="*/ 246 h 278"/>
                  <a:gd name="T12" fmla="*/ 203 w 280"/>
                  <a:gd name="T13" fmla="*/ 216 h 278"/>
                  <a:gd name="T14" fmla="*/ 264 w 280"/>
                  <a:gd name="T15" fmla="*/ 276 h 278"/>
                  <a:gd name="T16" fmla="*/ 270 w 280"/>
                  <a:gd name="T17" fmla="*/ 278 h 278"/>
                  <a:gd name="T18" fmla="*/ 276 w 280"/>
                  <a:gd name="T19" fmla="*/ 276 h 278"/>
                  <a:gd name="T20" fmla="*/ 276 w 280"/>
                  <a:gd name="T21" fmla="*/ 263 h 278"/>
                  <a:gd name="T22" fmla="*/ 200 w 280"/>
                  <a:gd name="T23" fmla="*/ 194 h 278"/>
                  <a:gd name="T24" fmla="*/ 197 w 280"/>
                  <a:gd name="T25" fmla="*/ 196 h 278"/>
                  <a:gd name="T26" fmla="*/ 195 w 280"/>
                  <a:gd name="T27" fmla="*/ 199 h 278"/>
                  <a:gd name="T28" fmla="*/ 123 w 280"/>
                  <a:gd name="T29" fmla="*/ 228 h 278"/>
                  <a:gd name="T30" fmla="*/ 18 w 280"/>
                  <a:gd name="T31" fmla="*/ 123 h 278"/>
                  <a:gd name="T32" fmla="*/ 123 w 280"/>
                  <a:gd name="T33" fmla="*/ 18 h 278"/>
                  <a:gd name="T34" fmla="*/ 228 w 280"/>
                  <a:gd name="T35" fmla="*/ 123 h 278"/>
                  <a:gd name="T36" fmla="*/ 200 w 280"/>
                  <a:gd name="T37" fmla="*/ 194 h 278"/>
                  <a:gd name="T38" fmla="*/ 123 w 280"/>
                  <a:gd name="T39" fmla="*/ 35 h 278"/>
                  <a:gd name="T40" fmla="*/ 36 w 280"/>
                  <a:gd name="T41" fmla="*/ 123 h 278"/>
                  <a:gd name="T42" fmla="*/ 45 w 280"/>
                  <a:gd name="T43" fmla="*/ 132 h 278"/>
                  <a:gd name="T44" fmla="*/ 54 w 280"/>
                  <a:gd name="T45" fmla="*/ 123 h 278"/>
                  <a:gd name="T46" fmla="*/ 123 w 280"/>
                  <a:gd name="T47" fmla="*/ 53 h 278"/>
                  <a:gd name="T48" fmla="*/ 132 w 280"/>
                  <a:gd name="T49" fmla="*/ 44 h 278"/>
                  <a:gd name="T50" fmla="*/ 123 w 280"/>
                  <a:gd name="T51" fmla="*/ 35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0" h="278">
                    <a:moveTo>
                      <a:pt x="276" y="263"/>
                    </a:moveTo>
                    <a:cubicBezTo>
                      <a:pt x="216" y="203"/>
                      <a:pt x="216" y="203"/>
                      <a:pt x="216" y="203"/>
                    </a:cubicBezTo>
                    <a:cubicBezTo>
                      <a:pt x="235" y="181"/>
                      <a:pt x="246" y="153"/>
                      <a:pt x="246" y="123"/>
                    </a:cubicBezTo>
                    <a:cubicBezTo>
                      <a:pt x="246" y="55"/>
                      <a:pt x="191" y="0"/>
                      <a:pt x="123" y="0"/>
                    </a:cubicBezTo>
                    <a:cubicBezTo>
                      <a:pt x="55" y="0"/>
                      <a:pt x="0" y="55"/>
                      <a:pt x="0" y="123"/>
                    </a:cubicBezTo>
                    <a:cubicBezTo>
                      <a:pt x="0" y="190"/>
                      <a:pt x="55" y="246"/>
                      <a:pt x="123" y="246"/>
                    </a:cubicBezTo>
                    <a:cubicBezTo>
                      <a:pt x="154" y="246"/>
                      <a:pt x="182" y="234"/>
                      <a:pt x="203" y="216"/>
                    </a:cubicBezTo>
                    <a:cubicBezTo>
                      <a:pt x="264" y="276"/>
                      <a:pt x="264" y="276"/>
                      <a:pt x="264" y="276"/>
                    </a:cubicBezTo>
                    <a:cubicBezTo>
                      <a:pt x="265" y="278"/>
                      <a:pt x="268" y="278"/>
                      <a:pt x="270" y="278"/>
                    </a:cubicBezTo>
                    <a:cubicBezTo>
                      <a:pt x="272" y="278"/>
                      <a:pt x="274" y="278"/>
                      <a:pt x="276" y="276"/>
                    </a:cubicBezTo>
                    <a:cubicBezTo>
                      <a:pt x="280" y="272"/>
                      <a:pt x="280" y="267"/>
                      <a:pt x="276" y="263"/>
                    </a:cubicBezTo>
                    <a:close/>
                    <a:moveTo>
                      <a:pt x="200" y="194"/>
                    </a:moveTo>
                    <a:cubicBezTo>
                      <a:pt x="199" y="195"/>
                      <a:pt x="198" y="195"/>
                      <a:pt x="197" y="196"/>
                    </a:cubicBezTo>
                    <a:cubicBezTo>
                      <a:pt x="196" y="197"/>
                      <a:pt x="195" y="198"/>
                      <a:pt x="195" y="199"/>
                    </a:cubicBezTo>
                    <a:cubicBezTo>
                      <a:pt x="176" y="217"/>
                      <a:pt x="151" y="228"/>
                      <a:pt x="123" y="228"/>
                    </a:cubicBezTo>
                    <a:cubicBezTo>
                      <a:pt x="65" y="228"/>
                      <a:pt x="18" y="181"/>
                      <a:pt x="18" y="123"/>
                    </a:cubicBezTo>
                    <a:cubicBezTo>
                      <a:pt x="18" y="65"/>
                      <a:pt x="65" y="18"/>
                      <a:pt x="123" y="18"/>
                    </a:cubicBezTo>
                    <a:cubicBezTo>
                      <a:pt x="181" y="18"/>
                      <a:pt x="228" y="65"/>
                      <a:pt x="228" y="123"/>
                    </a:cubicBezTo>
                    <a:cubicBezTo>
                      <a:pt x="228" y="150"/>
                      <a:pt x="217" y="176"/>
                      <a:pt x="200" y="194"/>
                    </a:cubicBezTo>
                    <a:close/>
                    <a:moveTo>
                      <a:pt x="123" y="35"/>
                    </a:moveTo>
                    <a:cubicBezTo>
                      <a:pt x="75" y="35"/>
                      <a:pt x="36" y="75"/>
                      <a:pt x="36" y="123"/>
                    </a:cubicBezTo>
                    <a:cubicBezTo>
                      <a:pt x="36" y="128"/>
                      <a:pt x="40" y="132"/>
                      <a:pt x="45" y="132"/>
                    </a:cubicBezTo>
                    <a:cubicBezTo>
                      <a:pt x="50" y="132"/>
                      <a:pt x="54" y="128"/>
                      <a:pt x="54" y="123"/>
                    </a:cubicBezTo>
                    <a:cubicBezTo>
                      <a:pt x="54" y="84"/>
                      <a:pt x="85" y="53"/>
                      <a:pt x="123" y="53"/>
                    </a:cubicBezTo>
                    <a:cubicBezTo>
                      <a:pt x="128" y="53"/>
                      <a:pt x="132" y="49"/>
                      <a:pt x="132" y="44"/>
                    </a:cubicBezTo>
                    <a:cubicBezTo>
                      <a:pt x="132" y="39"/>
                      <a:pt x="128" y="35"/>
                      <a:pt x="123" y="35"/>
                    </a:cubicBezTo>
                    <a:close/>
                  </a:path>
                </a:pathLst>
              </a:custGeom>
              <a:solidFill>
                <a:srgbClr val="FF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ko-KR" altLang="en-US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sp>
          <p:nvSpPr>
            <p:cNvPr id="40" name="TextBox 39"/>
            <p:cNvSpPr txBox="1"/>
            <p:nvPr/>
          </p:nvSpPr>
          <p:spPr>
            <a:xfrm>
              <a:off x="7610287" y="111727"/>
              <a:ext cx="180337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en-US" altLang="ko-KR" sz="9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KB</a:t>
              </a:r>
              <a:r>
                <a:rPr lang="ko-KR" altLang="en-US" sz="9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헬스케어</a:t>
              </a:r>
              <a:r>
                <a:rPr lang="en-US" altLang="ko-KR" sz="9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B2C/B2B </a:t>
              </a:r>
              <a:r>
                <a:rPr lang="ko-KR" altLang="en-US" sz="900" spc="-50">
                  <a:solidFill>
                    <a:prstClr val="black">
                      <a:lumMod val="65000"/>
                      <a:lumOff val="35000"/>
                    </a:prstClr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통합 플랫폼 구축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7192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492" y="734158"/>
            <a:ext cx="9144508" cy="4431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line of maximum two lines here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723" y="1593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23" y="1593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492" y="298494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  <p:cxnSp>
        <p:nvCxnSpPr>
          <p:cNvPr id="20" name="직선 연결선 19"/>
          <p:cNvCxnSpPr/>
          <p:nvPr/>
        </p:nvCxnSpPr>
        <p:spPr>
          <a:xfrm>
            <a:off x="1496617" y="630582"/>
            <a:ext cx="8409384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3442" y="630582"/>
            <a:ext cx="1493175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4813587" y="6664660"/>
            <a:ext cx="278826" cy="138499"/>
          </a:xfrm>
          <a:prstGeom prst="rect">
            <a:avLst/>
          </a:prstGeom>
          <a:solidFill>
            <a:srgbClr val="FFFFFF"/>
          </a:solidFill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6CE8C368-3382-4C28-AE75-DF7C05ACA19D}" type="slidenum">
              <a:rPr lang="en-US" sz="999" b="0" smtClean="0">
                <a:solidFill>
                  <a:srgbClr val="585043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pPr algn="ctr"/>
              <a:t>‹#›</a:t>
            </a:fld>
            <a:endParaRPr lang="en-US" sz="999" b="0">
              <a:solidFill>
                <a:srgbClr val="585043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cxnSp>
        <p:nvCxnSpPr>
          <p:cNvPr id="18" name="직선 연결선 17"/>
          <p:cNvCxnSpPr/>
          <p:nvPr userDrawn="1"/>
        </p:nvCxnSpPr>
        <p:spPr>
          <a:xfrm>
            <a:off x="331201" y="6597352"/>
            <a:ext cx="92376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1019" y="6617496"/>
            <a:ext cx="1152128" cy="207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815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</p:sldLayoutIdLst>
  <p:hf sldNum="0" hdr="0" ftr="0" dt="0"/>
  <p:txStyles>
    <p:titleStyle>
      <a:lvl1pPr marL="0" indent="0" algn="l" defTabSz="913943" rtl="0" eaLnBrk="1" latinLnBrk="0" hangingPunct="1">
        <a:lnSpc>
          <a:spcPct val="90000"/>
        </a:lnSpc>
        <a:spcBef>
          <a:spcPct val="0"/>
        </a:spcBef>
        <a:buNone/>
        <a:defRPr lang="en-US" sz="1999" b="0" kern="1200" baseline="0" dirty="0">
          <a:solidFill>
            <a:schemeClr val="accent5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lnSpc>
          <a:spcPct val="90000"/>
        </a:lnSpc>
        <a:spcBef>
          <a:spcPts val="0"/>
        </a:spcBef>
        <a:buClr>
          <a:srgbClr val="FFA600"/>
        </a:buClr>
        <a:buSzPct val="100000"/>
        <a:buFont typeface="Arial" pitchFamily="34" charset="0"/>
        <a:buNone/>
        <a:defRPr sz="1599" b="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10741" indent="-127952" algn="l" defTabSz="913943" rtl="0" eaLnBrk="1" latinLnBrk="0" hangingPunct="1">
        <a:lnSpc>
          <a:spcPct val="90000"/>
        </a:lnSpc>
        <a:spcBef>
          <a:spcPts val="900"/>
        </a:spcBef>
        <a:buClr>
          <a:srgbClr val="FFA600"/>
        </a:buClr>
        <a:buFont typeface="Arial" pitchFamily="34" charset="0"/>
        <a:buChar char="•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2pPr>
      <a:lvl3pPr marL="489355" indent="-179910" algn="l" defTabSz="913943" rtl="0" eaLnBrk="1" latinLnBrk="0" hangingPunct="1">
        <a:lnSpc>
          <a:spcPct val="90000"/>
        </a:lnSpc>
        <a:spcBef>
          <a:spcPts val="600"/>
        </a:spcBef>
        <a:buClr>
          <a:srgbClr val="FFA600"/>
        </a:buClr>
        <a:buFont typeface="Arial" pitchFamily="34" charset="0"/>
        <a:buChar char="–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3pPr>
      <a:lvl4pPr marL="633283" indent="-137091" algn="l" defTabSz="913943" rtl="0" eaLnBrk="1" latinLnBrk="0" hangingPunct="1">
        <a:lnSpc>
          <a:spcPct val="90000"/>
        </a:lnSpc>
        <a:spcBef>
          <a:spcPts val="200"/>
        </a:spcBef>
        <a:buClr>
          <a:srgbClr val="FFA600"/>
        </a:buClr>
        <a:buFont typeface="Arial" pitchFamily="34" charset="0"/>
        <a:buChar char="-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4pPr>
      <a:lvl5pPr marL="770015" indent="-136732" algn="l" defTabSz="913943" rtl="0" eaLnBrk="1" latinLnBrk="0" hangingPunct="1">
        <a:lnSpc>
          <a:spcPct val="90000"/>
        </a:lnSpc>
        <a:spcBef>
          <a:spcPts val="100"/>
        </a:spcBef>
        <a:buClr>
          <a:srgbClr val="FFA600"/>
        </a:buClr>
        <a:buFont typeface="Arial" pitchFamily="34" charset="0"/>
        <a:buChar char="-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5pPr>
      <a:lvl6pPr marL="2513343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492" y="734158"/>
            <a:ext cx="9144508" cy="4431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line of maximum two lines here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723" y="1593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3" y="1593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492" y="298494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  <p:cxnSp>
        <p:nvCxnSpPr>
          <p:cNvPr id="20" name="직선 연결선 19"/>
          <p:cNvCxnSpPr/>
          <p:nvPr/>
        </p:nvCxnSpPr>
        <p:spPr>
          <a:xfrm>
            <a:off x="1496617" y="630582"/>
            <a:ext cx="8409384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3442" y="630582"/>
            <a:ext cx="1493175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4813587" y="6664660"/>
            <a:ext cx="278826" cy="138499"/>
          </a:xfrm>
          <a:prstGeom prst="rect">
            <a:avLst/>
          </a:prstGeom>
          <a:solidFill>
            <a:srgbClr val="FFFFFF"/>
          </a:solidFill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6CE8C368-3382-4C28-AE75-DF7C05ACA19D}" type="slidenum">
              <a:rPr lang="en-US" sz="999" b="0" smtClean="0">
                <a:solidFill>
                  <a:srgbClr val="585043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pPr algn="ctr"/>
              <a:t>‹#›</a:t>
            </a:fld>
            <a:endParaRPr lang="en-US" sz="999" b="0">
              <a:solidFill>
                <a:srgbClr val="585043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cxnSp>
        <p:nvCxnSpPr>
          <p:cNvPr id="18" name="직선 연결선 17"/>
          <p:cNvCxnSpPr/>
          <p:nvPr userDrawn="1"/>
        </p:nvCxnSpPr>
        <p:spPr>
          <a:xfrm>
            <a:off x="331201" y="6597352"/>
            <a:ext cx="92376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786" y="6617312"/>
            <a:ext cx="1152128" cy="207383"/>
          </a:xfrm>
          <a:prstGeom prst="rect">
            <a:avLst/>
          </a:prstGeom>
        </p:spPr>
      </p:pic>
      <p:sp>
        <p:nvSpPr>
          <p:cNvPr id="12" name="Rectangle 7"/>
          <p:cNvSpPr txBox="1">
            <a:spLocks noChangeArrowheads="1"/>
          </p:cNvSpPr>
          <p:nvPr userDrawn="1"/>
        </p:nvSpPr>
        <p:spPr bwMode="auto">
          <a:xfrm>
            <a:off x="286942" y="6605741"/>
            <a:ext cx="3945979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83" tIns="35983" rIns="35983" bIns="35983" numCol="1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9pPr>
          </a:lstStyle>
          <a:p>
            <a:pPr algn="l">
              <a:defRPr/>
            </a:pP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「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B2C/B2B</a:t>
            </a:r>
            <a:r>
              <a:rPr lang="en-US" altLang="ko-KR" sz="999" b="0" baseline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 </a:t>
            </a:r>
            <a:r>
              <a:rPr lang="ko-KR" altLang="en-US" sz="999" b="0" baseline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통합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 </a:t>
            </a: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플랫폼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』 </a:t>
            </a: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구축」 프로젝트</a:t>
            </a:r>
            <a:endParaRPr lang="en-US" altLang="ko-KR" sz="999" b="0">
              <a:latin typeface="KB금융 본문체 Light" panose="020B0303000000000000" pitchFamily="50" charset="-127"/>
              <a:ea typeface="KB금융 본문체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20075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sldNum="0" hdr="0" ftr="0" dt="0"/>
  <p:txStyles>
    <p:titleStyle>
      <a:lvl1pPr marL="0" indent="0" algn="l" defTabSz="913943" rtl="0" eaLnBrk="1" latinLnBrk="0" hangingPunct="1">
        <a:lnSpc>
          <a:spcPct val="90000"/>
        </a:lnSpc>
        <a:spcBef>
          <a:spcPct val="0"/>
        </a:spcBef>
        <a:buNone/>
        <a:defRPr lang="en-US" sz="1999" b="0" kern="1200" baseline="0" dirty="0">
          <a:solidFill>
            <a:schemeClr val="accent5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lnSpc>
          <a:spcPct val="90000"/>
        </a:lnSpc>
        <a:spcBef>
          <a:spcPts val="0"/>
        </a:spcBef>
        <a:buClr>
          <a:srgbClr val="FFA600"/>
        </a:buClr>
        <a:buSzPct val="100000"/>
        <a:buFont typeface="Arial" pitchFamily="34" charset="0"/>
        <a:buNone/>
        <a:defRPr sz="1599" b="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10741" indent="-127952" algn="l" defTabSz="913943" rtl="0" eaLnBrk="1" latinLnBrk="0" hangingPunct="1">
        <a:lnSpc>
          <a:spcPct val="90000"/>
        </a:lnSpc>
        <a:spcBef>
          <a:spcPts val="900"/>
        </a:spcBef>
        <a:buClr>
          <a:srgbClr val="FFA600"/>
        </a:buClr>
        <a:buFont typeface="Arial" pitchFamily="34" charset="0"/>
        <a:buChar char="•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2pPr>
      <a:lvl3pPr marL="489355" indent="-179910" algn="l" defTabSz="913943" rtl="0" eaLnBrk="1" latinLnBrk="0" hangingPunct="1">
        <a:lnSpc>
          <a:spcPct val="90000"/>
        </a:lnSpc>
        <a:spcBef>
          <a:spcPts val="600"/>
        </a:spcBef>
        <a:buClr>
          <a:srgbClr val="FFA600"/>
        </a:buClr>
        <a:buFont typeface="Arial" pitchFamily="34" charset="0"/>
        <a:buChar char="–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3pPr>
      <a:lvl4pPr marL="633283" indent="-137091" algn="l" defTabSz="913943" rtl="0" eaLnBrk="1" latinLnBrk="0" hangingPunct="1">
        <a:lnSpc>
          <a:spcPct val="90000"/>
        </a:lnSpc>
        <a:spcBef>
          <a:spcPts val="200"/>
        </a:spcBef>
        <a:buClr>
          <a:srgbClr val="FFA600"/>
        </a:buClr>
        <a:buFont typeface="Arial" pitchFamily="34" charset="0"/>
        <a:buChar char="-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4pPr>
      <a:lvl5pPr marL="770015" indent="-136732" algn="l" defTabSz="913943" rtl="0" eaLnBrk="1" latinLnBrk="0" hangingPunct="1">
        <a:lnSpc>
          <a:spcPct val="90000"/>
        </a:lnSpc>
        <a:spcBef>
          <a:spcPts val="100"/>
        </a:spcBef>
        <a:buClr>
          <a:srgbClr val="FFA600"/>
        </a:buClr>
        <a:buFont typeface="Arial" pitchFamily="34" charset="0"/>
        <a:buChar char="-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5pPr>
      <a:lvl6pPr marL="2513343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492" y="734158"/>
            <a:ext cx="9144508" cy="44319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line of maximum two lines here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723" y="1593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3" y="1593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492" y="298494"/>
            <a:ext cx="680400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ko-KR" dirty="0"/>
              <a:t>Title text here</a:t>
            </a:r>
            <a:endParaRPr lang="en-US" dirty="0"/>
          </a:p>
        </p:txBody>
      </p:sp>
      <p:cxnSp>
        <p:nvCxnSpPr>
          <p:cNvPr id="20" name="직선 연결선 19"/>
          <p:cNvCxnSpPr/>
          <p:nvPr/>
        </p:nvCxnSpPr>
        <p:spPr>
          <a:xfrm>
            <a:off x="1496617" y="630582"/>
            <a:ext cx="8409384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/>
        </p:nvCxnSpPr>
        <p:spPr>
          <a:xfrm>
            <a:off x="3442" y="630582"/>
            <a:ext cx="1493175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4813587" y="6664660"/>
            <a:ext cx="278826" cy="138499"/>
          </a:xfrm>
          <a:prstGeom prst="rect">
            <a:avLst/>
          </a:prstGeom>
          <a:solidFill>
            <a:srgbClr val="FFFFFF"/>
          </a:solidFill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6CE8C368-3382-4C28-AE75-DF7C05ACA19D}" type="slidenum">
              <a:rPr lang="en-US" sz="999" b="0" smtClean="0">
                <a:solidFill>
                  <a:srgbClr val="585043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pPr algn="ctr"/>
              <a:t>‹#›</a:t>
            </a:fld>
            <a:endParaRPr lang="en-US" sz="999" b="0">
              <a:solidFill>
                <a:srgbClr val="585043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cxnSp>
        <p:nvCxnSpPr>
          <p:cNvPr id="18" name="직선 연결선 17"/>
          <p:cNvCxnSpPr/>
          <p:nvPr userDrawn="1"/>
        </p:nvCxnSpPr>
        <p:spPr>
          <a:xfrm>
            <a:off x="331201" y="6597352"/>
            <a:ext cx="92376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786" y="6617312"/>
            <a:ext cx="1152128" cy="207383"/>
          </a:xfrm>
          <a:prstGeom prst="rect">
            <a:avLst/>
          </a:prstGeom>
        </p:spPr>
      </p:pic>
      <p:sp>
        <p:nvSpPr>
          <p:cNvPr id="13" name="Rectangle 7"/>
          <p:cNvSpPr txBox="1">
            <a:spLocks noChangeArrowheads="1"/>
          </p:cNvSpPr>
          <p:nvPr userDrawn="1"/>
        </p:nvSpPr>
        <p:spPr bwMode="auto">
          <a:xfrm>
            <a:off x="286942" y="6605741"/>
            <a:ext cx="3945979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83" tIns="35983" rIns="35983" bIns="35983" numCol="1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400" kern="1200">
                <a:solidFill>
                  <a:schemeClr val="tx1"/>
                </a:solidFill>
                <a:latin typeface="코레일체" pitchFamily="50" charset="-127"/>
                <a:ea typeface="코레일체" pitchFamily="50" charset="-127"/>
                <a:cs typeface="+mn-cs"/>
              </a:defRPr>
            </a:lvl9pPr>
          </a:lstStyle>
          <a:p>
            <a:pPr algn="l">
              <a:defRPr/>
            </a:pP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「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B2C/B2B</a:t>
            </a:r>
            <a:r>
              <a:rPr lang="en-US" altLang="ko-KR" sz="999" b="0" baseline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 </a:t>
            </a:r>
            <a:r>
              <a:rPr lang="ko-KR" altLang="en-US" sz="999" b="0" baseline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통합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 </a:t>
            </a: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플랫폼</a:t>
            </a:r>
            <a:r>
              <a:rPr lang="en-US" altLang="ko-KR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』 </a:t>
            </a:r>
            <a:r>
              <a:rPr lang="ko-KR" altLang="en-US" sz="999" b="0">
                <a:latin typeface="KB금융 본문체 Light" panose="020B0303000000000000" pitchFamily="50" charset="-127"/>
                <a:ea typeface="KB금융 본문체 Light" panose="020B0303000000000000" pitchFamily="50" charset="-127"/>
              </a:rPr>
              <a:t>구축」 프로젝트</a:t>
            </a:r>
            <a:endParaRPr lang="en-US" altLang="ko-KR" sz="999" b="0">
              <a:latin typeface="KB금융 본문체 Light" panose="020B0303000000000000" pitchFamily="50" charset="-127"/>
              <a:ea typeface="KB금융 본문체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82622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sldNum="0" hdr="0" ftr="0" dt="0"/>
  <p:txStyles>
    <p:titleStyle>
      <a:lvl1pPr marL="0" indent="0" algn="l" defTabSz="913943" rtl="0" eaLnBrk="1" latinLnBrk="0" hangingPunct="1">
        <a:lnSpc>
          <a:spcPct val="90000"/>
        </a:lnSpc>
        <a:spcBef>
          <a:spcPct val="0"/>
        </a:spcBef>
        <a:buNone/>
        <a:defRPr lang="en-US" sz="1999" b="0" kern="1200" baseline="0" dirty="0">
          <a:solidFill>
            <a:schemeClr val="accent5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lnSpc>
          <a:spcPct val="90000"/>
        </a:lnSpc>
        <a:spcBef>
          <a:spcPts val="0"/>
        </a:spcBef>
        <a:buClr>
          <a:srgbClr val="FFA600"/>
        </a:buClr>
        <a:buSzPct val="100000"/>
        <a:buFont typeface="Arial" pitchFamily="34" charset="0"/>
        <a:buNone/>
        <a:defRPr sz="1599" b="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10741" indent="-127952" algn="l" defTabSz="913943" rtl="0" eaLnBrk="1" latinLnBrk="0" hangingPunct="1">
        <a:lnSpc>
          <a:spcPct val="90000"/>
        </a:lnSpc>
        <a:spcBef>
          <a:spcPts val="900"/>
        </a:spcBef>
        <a:buClr>
          <a:srgbClr val="FFA600"/>
        </a:buClr>
        <a:buFont typeface="Arial" pitchFamily="34" charset="0"/>
        <a:buChar char="•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2pPr>
      <a:lvl3pPr marL="489355" indent="-179910" algn="l" defTabSz="913943" rtl="0" eaLnBrk="1" latinLnBrk="0" hangingPunct="1">
        <a:lnSpc>
          <a:spcPct val="90000"/>
        </a:lnSpc>
        <a:spcBef>
          <a:spcPts val="600"/>
        </a:spcBef>
        <a:buClr>
          <a:srgbClr val="FFA600"/>
        </a:buClr>
        <a:buFont typeface="Arial" pitchFamily="34" charset="0"/>
        <a:buChar char="–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3pPr>
      <a:lvl4pPr marL="633283" indent="-137091" algn="l" defTabSz="913943" rtl="0" eaLnBrk="1" latinLnBrk="0" hangingPunct="1">
        <a:lnSpc>
          <a:spcPct val="90000"/>
        </a:lnSpc>
        <a:spcBef>
          <a:spcPts val="200"/>
        </a:spcBef>
        <a:buClr>
          <a:srgbClr val="FFA600"/>
        </a:buClr>
        <a:buFont typeface="Arial" pitchFamily="34" charset="0"/>
        <a:buChar char="-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4pPr>
      <a:lvl5pPr marL="770015" indent="-136732" algn="l" defTabSz="913943" rtl="0" eaLnBrk="1" latinLnBrk="0" hangingPunct="1">
        <a:lnSpc>
          <a:spcPct val="90000"/>
        </a:lnSpc>
        <a:spcBef>
          <a:spcPts val="100"/>
        </a:spcBef>
        <a:buClr>
          <a:srgbClr val="FFA600"/>
        </a:buClr>
        <a:buFont typeface="Arial" pitchFamily="34" charset="0"/>
        <a:buChar char="-"/>
        <a:defRPr sz="2199" kern="1200">
          <a:solidFill>
            <a:schemeClr val="tx1"/>
          </a:solidFill>
          <a:latin typeface="Arial" pitchFamily="34" charset="0"/>
          <a:ea typeface="맑은 고딕" panose="020B0503020000020004" pitchFamily="50" charset="-127"/>
          <a:cs typeface="Arial" pitchFamily="34" charset="0"/>
        </a:defRPr>
      </a:lvl5pPr>
      <a:lvl6pPr marL="2513343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1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1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tcdevops/KBHC-SpringBoot-PostGRE.git" TargetMode="Externa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fi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7DC585E-C93F-6073-19E7-EA113B66ECA7}"/>
              </a:ext>
            </a:extLst>
          </p:cNvPr>
          <p:cNvSpPr txBox="1"/>
          <p:nvPr/>
        </p:nvSpPr>
        <p:spPr>
          <a:xfrm>
            <a:off x="398352" y="1059255"/>
            <a:ext cx="1874068" cy="41646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72000" tIns="36000" rIns="72000" bIns="3600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altLang="ko-KR" sz="1600" b="1" i="0" u="sng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『</a:t>
            </a:r>
            <a:r>
              <a:rPr lang="en-US" altLang="ko-KR" sz="1600" b="1" u="sng" dirty="0">
                <a:latin typeface="+mj-lt"/>
                <a:cs typeface="Arial" pitchFamily="34" charset="0"/>
              </a:rPr>
              <a:t>KB</a:t>
            </a:r>
            <a:r>
              <a:rPr lang="ko-KR" altLang="en-US" sz="1600" b="1" u="sng" dirty="0">
                <a:latin typeface="+mj-lt"/>
                <a:cs typeface="Arial" pitchFamily="34" charset="0"/>
              </a:rPr>
              <a:t>헬스케어</a:t>
            </a:r>
            <a:r>
              <a:rPr lang="en-US" altLang="ko-KR" sz="1600" b="1" i="0" u="sng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』</a:t>
            </a:r>
            <a:endParaRPr lang="ko-KR" altLang="en-US" sz="1600" b="1" u="sng" dirty="0">
              <a:latin typeface="+mj-lt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FCCA1D-0261-E045-04C6-8EE82672B638}"/>
              </a:ext>
            </a:extLst>
          </p:cNvPr>
          <p:cNvSpPr txBox="1"/>
          <p:nvPr/>
        </p:nvSpPr>
        <p:spPr>
          <a:xfrm>
            <a:off x="1132438" y="2218099"/>
            <a:ext cx="7641124" cy="9144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72000" tIns="36000" rIns="72000" bIns="36000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ko-KR" sz="3000" b="1" dirty="0">
                <a:cs typeface="Arial" pitchFamily="34" charset="0"/>
              </a:rPr>
              <a:t>KB</a:t>
            </a:r>
            <a:r>
              <a:rPr lang="ko-KR" altLang="en-US" sz="3000" b="1" dirty="0">
                <a:cs typeface="Arial" pitchFamily="34" charset="0"/>
              </a:rPr>
              <a:t>헬스케어 </a:t>
            </a:r>
            <a:r>
              <a:rPr lang="en-US" altLang="ko-KR" sz="3000" b="1" dirty="0">
                <a:cs typeface="Arial" pitchFamily="34" charset="0"/>
              </a:rPr>
              <a:t>Replica</a:t>
            </a:r>
            <a:r>
              <a:rPr lang="ko-KR" altLang="en-US" sz="3000" b="1" dirty="0">
                <a:cs typeface="Arial" pitchFamily="34" charset="0"/>
              </a:rPr>
              <a:t>구성 개발자 가이드</a:t>
            </a:r>
            <a:endParaRPr lang="en-US" altLang="ko-KR" sz="3000" b="1" dirty="0">
              <a:cs typeface="Arial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ko-KR" sz="1400" b="1" dirty="0">
                <a:cs typeface="Arial" pitchFamily="34" charset="0"/>
              </a:rPr>
              <a:t>(MySQL </a:t>
            </a:r>
            <a:r>
              <a:rPr lang="en-US" altLang="ko-KR" sz="1400" b="1" dirty="0" err="1">
                <a:cs typeface="Arial" pitchFamily="34" charset="0"/>
              </a:rPr>
              <a:t>ver</a:t>
            </a:r>
            <a:r>
              <a:rPr lang="en-US" altLang="ko-KR" sz="1400" b="1" dirty="0">
                <a:cs typeface="Arial" pitchFamily="34" charset="0"/>
              </a:rPr>
              <a:t>)</a:t>
            </a:r>
            <a:endParaRPr lang="ko-KR" altLang="en-US" sz="1400" b="1" dirty="0">
              <a:cs typeface="Arial" pitchFamily="34" charset="0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3E5E177-A70F-3492-C2DB-EC9339FA7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1432031"/>
              </p:ext>
            </p:extLst>
          </p:nvPr>
        </p:nvGraphicFramePr>
        <p:xfrm>
          <a:off x="790920" y="4686225"/>
          <a:ext cx="3364619" cy="111252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301927">
                  <a:extLst>
                    <a:ext uri="{9D8B030D-6E8A-4147-A177-3AD203B41FA5}">
                      <a16:colId xmlns:a16="http://schemas.microsoft.com/office/drawing/2014/main" val="3968590093"/>
                    </a:ext>
                  </a:extLst>
                </a:gridCol>
                <a:gridCol w="2062692">
                  <a:extLst>
                    <a:ext uri="{9D8B030D-6E8A-4147-A177-3AD203B41FA5}">
                      <a16:colId xmlns:a16="http://schemas.microsoft.com/office/drawing/2014/main" val="24546623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작성자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김민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03852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작성 상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진행중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991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최종 개정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2023-12-11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6508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06291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Config.java</a:t>
            </a:r>
            <a:r>
              <a:rPr lang="en-US" altLang="ko-KR" sz="1800" b="1" dirty="0"/>
              <a:t>] </a:t>
            </a:r>
            <a:r>
              <a:rPr lang="ko-KR" altLang="en-US" sz="1800" b="1" dirty="0"/>
              <a:t>마스터 데이터소스 구성 </a:t>
            </a:r>
            <a:endParaRPr lang="en-US" altLang="ko-KR" sz="1800" b="1" dirty="0"/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461DC9-A00E-55E5-DFF8-E856FA0BD0D8}"/>
              </a:ext>
            </a:extLst>
          </p:cNvPr>
          <p:cNvSpPr txBox="1"/>
          <p:nvPr/>
        </p:nvSpPr>
        <p:spPr>
          <a:xfrm>
            <a:off x="461727" y="2060156"/>
            <a:ext cx="8926717" cy="1156771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_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ConfigurationPropertie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efix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pring.datasource.master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Builder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re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.</a:t>
            </a: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buil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CB3B51-9D94-194B-6E5E-695BEBB79C2B}"/>
              </a:ext>
            </a:extLst>
          </p:cNvPr>
          <p:cNvSpPr txBox="1"/>
          <p:nvPr/>
        </p:nvSpPr>
        <p:spPr>
          <a:xfrm>
            <a:off x="461727" y="4112045"/>
            <a:ext cx="8835528" cy="1192575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_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ConfigurationPropertie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efix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pring.datasource.slave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Builder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re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.</a:t>
            </a: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buil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>
              <a:lnSpc>
                <a:spcPct val="90000"/>
              </a:lnSpc>
            </a:pPr>
            <a:endParaRPr lang="ko-KR" altLang="en-US" sz="1400" dirty="0"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E8A4C1-5688-771B-1059-975B6270EDAD}"/>
              </a:ext>
            </a:extLst>
          </p:cNvPr>
          <p:cNvSpPr txBox="1"/>
          <p:nvPr/>
        </p:nvSpPr>
        <p:spPr>
          <a:xfrm>
            <a:off x="461726" y="3317454"/>
            <a:ext cx="8926717" cy="31948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u"/>
            </a:pPr>
            <a:r>
              <a:rPr kumimoji="0" lang="ko-KR" altLang="ko-KR" sz="1400" b="1" i="0" u="none" strike="noStrike" cap="none" normalizeH="0" baseline="0" dirty="0" err="1">
                <a:ln>
                  <a:noFill/>
                </a:ln>
                <a:effectLst/>
                <a:latin typeface="Arial Unicode MS" panose="020B0604020202020204" pitchFamily="50" charset="-127"/>
                <a:ea typeface="Söhne Mono"/>
              </a:rPr>
              <a:t>application.yml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파일에서 "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spring.datasource.master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" 접두사로 시작하는 속성을 사용하여 마스터 데이터소스를 구성합니다.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u"/>
            </a:pPr>
            <a:endParaRPr lang="ko-KR" altLang="en-US" sz="1400" dirty="0"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A66816-3A3F-2FB4-1577-5BD24C6FE6DB}"/>
              </a:ext>
            </a:extLst>
          </p:cNvPr>
          <p:cNvSpPr txBox="1"/>
          <p:nvPr/>
        </p:nvSpPr>
        <p:spPr>
          <a:xfrm>
            <a:off x="381884" y="5405148"/>
            <a:ext cx="8926717" cy="31948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u"/>
              <a:tabLst/>
            </a:pPr>
            <a:r>
              <a:rPr kumimoji="0" lang="ko-KR" altLang="ko-KR" sz="1400" b="1" i="0" u="none" strike="noStrike" cap="none" normalizeH="0" baseline="0" dirty="0" err="1">
                <a:ln>
                  <a:noFill/>
                </a:ln>
                <a:effectLst/>
                <a:latin typeface="Arial Unicode MS" panose="020B0604020202020204" pitchFamily="50" charset="-127"/>
                <a:ea typeface="Söhne Mono"/>
              </a:rPr>
              <a:t>application.yml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파일에서 "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spring.datasource.slave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" 접두사로 시작하는 속성을 사용하여 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데이터소스를 구성합니다.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u"/>
            </a:pPr>
            <a:endParaRPr lang="ko-KR" altLang="en-US" sz="1400" dirty="0"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E29D72-CB15-A759-8D8C-28C82350AAB2}"/>
              </a:ext>
            </a:extLst>
          </p:cNvPr>
          <p:cNvSpPr txBox="1"/>
          <p:nvPr/>
        </p:nvSpPr>
        <p:spPr>
          <a:xfrm>
            <a:off x="381885" y="1124534"/>
            <a:ext cx="9246857" cy="93561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139291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u"/>
            </a:pPr>
            <a:r>
              <a:rPr kumimoji="0" lang="ko-KR" altLang="ko-KR" sz="1400" b="1" i="0" u="none" strike="noStrike" cap="none" normalizeH="0" baseline="0" dirty="0">
                <a:ln>
                  <a:noFill/>
                </a:ln>
                <a:effectLst/>
                <a:ea typeface="Söhne"/>
              </a:rPr>
              <a:t>마스터 및 </a:t>
            </a:r>
            <a:r>
              <a:rPr kumimoji="0" lang="ko-KR" altLang="ko-KR" sz="1400" b="1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400" b="1" i="0" u="none" strike="noStrike" cap="none" normalizeH="0" baseline="0" dirty="0">
                <a:ln>
                  <a:noFill/>
                </a:ln>
                <a:effectLst/>
                <a:ea typeface="Söhne"/>
              </a:rPr>
              <a:t> 구성: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이 스프링 부트 애플리케이션은 마스터와 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두 개의 데이터 소스를 관리합니다.</a:t>
            </a:r>
            <a:endParaRPr kumimoji="0" lang="en-US" altLang="ko-KR" sz="1400" b="1" i="0" u="none" strike="noStrike" cap="none" normalizeH="0" baseline="0" dirty="0">
              <a:ln>
                <a:noFill/>
              </a:ln>
              <a:effectLst/>
              <a:ea typeface="Söhne"/>
            </a:endParaRPr>
          </a:p>
          <a:p>
            <a:pPr marL="139291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u"/>
            </a:pPr>
            <a:r>
              <a:rPr kumimoji="0" lang="ko-KR" altLang="ko-KR" sz="1400" b="1" i="0" u="none" strike="noStrike" cap="none" normalizeH="0" baseline="0" dirty="0">
                <a:ln>
                  <a:noFill/>
                </a:ln>
                <a:effectLst/>
                <a:ea typeface="Söhne"/>
              </a:rPr>
              <a:t>동적 라우팅: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현재 컨텍스트에 기반하여 데이터베이스 요청을 마스터 및 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간에 동적으로 라우팅하는 사용자 정의 </a:t>
            </a:r>
            <a:r>
              <a:rPr kumimoji="0" lang="ko-KR" altLang="ko-KR" sz="1400" b="1" i="0" u="none" strike="noStrike" cap="none" normalizeH="0" baseline="0" dirty="0" err="1">
                <a:ln>
                  <a:noFill/>
                </a:ln>
                <a:effectLst/>
                <a:ea typeface="Söhne Mono"/>
              </a:rPr>
              <a:t>RoutingDataSource</a:t>
            </a:r>
            <a:r>
              <a:rPr kumimoji="0" lang="ko-KR" altLang="ko-KR" sz="14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를</a:t>
            </a:r>
            <a:r>
              <a:rPr kumimoji="0" lang="ko-KR" altLang="ko-KR" sz="14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활용합니다.</a:t>
            </a:r>
          </a:p>
        </p:txBody>
      </p:sp>
    </p:spTree>
    <p:extLst>
      <p:ext uri="{BB962C8B-B14F-4D97-AF65-F5344CB8AC3E}">
        <p14:creationId xmlns:p14="http://schemas.microsoft.com/office/powerpoint/2010/main" val="418727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3. [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Config.java</a:t>
            </a:r>
            <a:r>
              <a:rPr lang="en-US" altLang="ko-KR" sz="1800" b="1" dirty="0"/>
              <a:t>] </a:t>
            </a:r>
            <a:r>
              <a:rPr lang="ko-KR" altLang="en-US" sz="1800" b="1" dirty="0"/>
              <a:t>라우팅 데이터소스 구성 </a:t>
            </a:r>
            <a:endParaRPr lang="en-US" altLang="ko-KR" sz="1800" b="1" dirty="0"/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461DC9-A00E-55E5-DFF8-E856FA0BD0D8}"/>
              </a:ext>
            </a:extLst>
          </p:cNvPr>
          <p:cNvSpPr txBox="1"/>
          <p:nvPr/>
        </p:nvSpPr>
        <p:spPr>
          <a:xfrm>
            <a:off x="461727" y="5916056"/>
            <a:ext cx="8926717" cy="55084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데이터베이스 요청을 동적으로 처리하기 위한 </a:t>
            </a:r>
            <a:r>
              <a:rPr lang="en-US" altLang="ko-KR" sz="1400" dirty="0" err="1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outingDataSource</a:t>
            </a:r>
            <a:r>
              <a:rPr lang="ko-KR" altLang="en-US" sz="1400" dirty="0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를 생성합니다</a:t>
            </a:r>
            <a:r>
              <a:rPr lang="en-US" altLang="ko-KR" sz="1400" dirty="0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마스터와 </a:t>
            </a:r>
            <a:r>
              <a:rPr lang="ko-KR" altLang="en-US" sz="1400" dirty="0" err="1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데이터소스를 구성하고 기본 데이터소스를 마스터로 설정합니다</a:t>
            </a:r>
            <a:r>
              <a:rPr lang="en-US" altLang="ko-KR" sz="1400" dirty="0"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E9A641-53C5-F566-767B-E505FBBB1C78}"/>
              </a:ext>
            </a:extLst>
          </p:cNvPr>
          <p:cNvSpPr txBox="1"/>
          <p:nvPr/>
        </p:nvSpPr>
        <p:spPr>
          <a:xfrm>
            <a:off x="461727" y="1124263"/>
            <a:ext cx="9062389" cy="4670608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@Bean</a:t>
            </a:r>
            <a:endParaRPr lang="en-US" altLang="ko-KR" sz="1400" b="1" dirty="0">
              <a:solidFill>
                <a:srgbClr val="D8D8D8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@Primary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@DependsOn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{</a:t>
            </a:r>
            <a:r>
              <a:rPr lang="en-US" altLang="ko-KR" sz="1400" b="1" dirty="0">
                <a:solidFill>
                  <a:srgbClr val="EFC090"/>
                </a:solidFill>
                <a:effectLst/>
                <a:ea typeface="KB금융 본문체 Medium" panose="020B0603000000000000" pitchFamily="50" charset="-127"/>
              </a:rPr>
              <a:t>MASTER_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>
                <a:solidFill>
                  <a:srgbClr val="EFC090"/>
                </a:solidFill>
                <a:effectLst/>
                <a:ea typeface="KB금융 본문체 Medium" panose="020B0603000000000000" pitchFamily="50" charset="-127"/>
              </a:rPr>
              <a:t>SLAVE_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})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FC090"/>
                </a:solidFill>
                <a:effectLst/>
                <a:ea typeface="KB금융 본문체 Medium" panose="020B0603000000000000" pitchFamily="50" charset="-127"/>
              </a:rPr>
              <a:t>MASTER_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master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,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FC090"/>
                </a:solidFill>
                <a:effectLst/>
                <a:ea typeface="KB금융 본문체 Medium" panose="020B0603000000000000" pitchFamily="50" charset="-127"/>
              </a:rPr>
              <a:t>SLAVE_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slave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 {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);</a:t>
            </a:r>
            <a:br>
              <a:rPr lang="en-US" altLang="ko-KR" sz="1400" b="1" dirty="0">
                <a:solidFill>
                  <a:srgbClr val="C7CDD1"/>
                </a:solidFill>
                <a:effectLst/>
                <a:ea typeface="KB금융 본문체 Medium" panose="020B0603000000000000" pitchFamily="50" charset="-127"/>
              </a:rPr>
            </a:b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D197D9"/>
                </a:solidFill>
                <a:effectLst/>
                <a:ea typeface="KB금융 본문체 Medium" panose="020B0603000000000000" pitchFamily="50" charset="-127"/>
              </a:rPr>
              <a:t>Map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&lt;</a:t>
            </a:r>
            <a:r>
              <a:rPr lang="en-US" altLang="ko-KR" sz="1400" b="1" dirty="0">
                <a:solidFill>
                  <a:srgbClr val="BFA4A4"/>
                </a:solidFill>
                <a:effectLst/>
                <a:ea typeface="KB금융 본문체 Medium" panose="020B0603000000000000" pitchFamily="50" charset="-127"/>
              </a:rPr>
              <a:t>Object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>
                <a:solidFill>
                  <a:srgbClr val="BFA4A4"/>
                </a:solidFill>
                <a:effectLst/>
                <a:ea typeface="KB금융 본문체 Medium" panose="020B0603000000000000" pitchFamily="50" charset="-127"/>
              </a:rPr>
              <a:t>Object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&gt;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ea typeface="KB금융 본문체 Medium" panose="020B0603000000000000" pitchFamily="50" charset="-127"/>
              </a:rPr>
              <a:t>datasourceMap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HashMap</a:t>
            </a:r>
            <a:r>
              <a:rPr lang="en-US" altLang="ko-KR" sz="1400" b="1" u="sng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&lt;&gt;()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{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{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4"/>
            <a:r>
              <a:rPr lang="en-US" altLang="ko-KR" sz="1400" b="1" dirty="0">
                <a:solidFill>
                  <a:srgbClr val="BED6FF"/>
                </a:solidFill>
                <a:effectLst/>
                <a:ea typeface="KB금융 본문체 Medium" panose="020B0603000000000000" pitchFamily="50" charset="-127"/>
              </a:rPr>
              <a:t>put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ea typeface="KB금융 본문체 Medium" panose="020B0603000000000000" pitchFamily="50" charset="-127"/>
              </a:rPr>
              <a:t>"master"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master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4"/>
            <a:r>
              <a:rPr lang="en-US" altLang="ko-KR" sz="1400" b="1" dirty="0">
                <a:solidFill>
                  <a:srgbClr val="BED6FF"/>
                </a:solidFill>
                <a:effectLst/>
                <a:ea typeface="KB금융 본문체 Medium" panose="020B0603000000000000" pitchFamily="50" charset="-127"/>
              </a:rPr>
              <a:t>put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ea typeface="KB금융 본문체 Medium" panose="020B0603000000000000" pitchFamily="50" charset="-127"/>
              </a:rPr>
              <a:t>"slave"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slave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};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setTargetDataSources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datasourceMap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ea typeface="KB금융 본문체 Medium" panose="020B0603000000000000" pitchFamily="50" charset="-127"/>
              </a:rPr>
              <a:t>setDefaultTarget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master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90829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3. [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outingDataSource.java</a:t>
            </a:r>
            <a:r>
              <a:rPr lang="en-US" altLang="ko-KR" sz="1800" b="1" dirty="0"/>
              <a:t>] </a:t>
            </a:r>
            <a:r>
              <a:rPr lang="ko-KR" altLang="en-US" sz="1800" b="1" dirty="0"/>
              <a:t>라우팅 데이터소스 구성 </a:t>
            </a:r>
            <a:endParaRPr lang="en-US" altLang="ko-KR" sz="1800" b="1" dirty="0"/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461DC9-A00E-55E5-DFF8-E856FA0BD0D8}"/>
              </a:ext>
            </a:extLst>
          </p:cNvPr>
          <p:cNvSpPr txBox="1"/>
          <p:nvPr/>
        </p:nvSpPr>
        <p:spPr>
          <a:xfrm>
            <a:off x="461727" y="4087257"/>
            <a:ext cx="8926717" cy="217032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 err="1">
                <a:effectLst/>
                <a:ea typeface="KB금융 본문체 Medium" panose="020B0603000000000000" pitchFamily="50" charset="-127"/>
              </a:rPr>
              <a:t>determineCurrentLookupKey</a:t>
            </a:r>
            <a:r>
              <a:rPr lang="en-US" altLang="ko-KR" sz="1400" b="1" dirty="0">
                <a:effectLst/>
                <a:ea typeface="KB금융 본문체 Medium" panose="020B0603000000000000" pitchFamily="50" charset="-127"/>
              </a:rPr>
              <a:t>() </a:t>
            </a:r>
            <a:r>
              <a:rPr lang="ko-KR" altLang="en-US" sz="1400" b="1" dirty="0">
                <a:effectLst/>
                <a:ea typeface="KB금융 본문체 Medium" panose="020B0603000000000000" pitchFamily="50" charset="-127"/>
              </a:rPr>
              <a:t>메서드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현재 트랜잭션이 읽기 전용인지 여부에 따라 데이터소스를 동적으로 선택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TransactionSynchronizationManager.isCurrentTransactionReadOnl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()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사용하여 현재 트랜잭션이 읽기 전용인지 확인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읽기 전용인 경우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slave",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그렇지 않으면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master"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반환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 코드는 스프링의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AbstractRoutingDataSource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상속받아 트랜잭션 속성에 따라 데이터베이스 요청을 마스터 또는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로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동적으로 라우팅하는 사용자 정의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RoutingDataSource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구현한 것입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를 통해 애플리케이션은 읽기 작업과 쓰기 작업을 각각 다른 데이터베이스로 분리하여 처리할 수 있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8B8EB3-8D82-EE16-823E-D92E7DFE99D0}"/>
              </a:ext>
            </a:extLst>
          </p:cNvPr>
          <p:cNvSpPr txBox="1"/>
          <p:nvPr/>
        </p:nvSpPr>
        <p:spPr>
          <a:xfrm>
            <a:off x="461727" y="1080196"/>
            <a:ext cx="9062389" cy="2808756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ckag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org.springframework.jdbc.datasource.lookup.AbstractRoutingDataSource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org.springframework.transaction.support.TransactionSynchronizationManager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endParaRPr lang="en-US" altLang="ko-KR" sz="1200" b="1" dirty="0">
              <a:solidFill>
                <a:srgbClr val="8DCBE2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endParaRPr lang="en-US" altLang="ko-KR" sz="1200" b="1" dirty="0">
              <a:solidFill>
                <a:srgbClr val="8DCBE2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outingDataSourc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extend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3EABE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bstractRoutingDataSourc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200" b="1" dirty="0">
              <a:solidFill>
                <a:srgbClr val="FFFFFF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Override</a:t>
            </a:r>
            <a:endParaRPr lang="en-US" altLang="ko-KR" sz="12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otected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bjec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etermineCurrentLookupKey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ul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(</a:t>
            </a:r>
            <a:r>
              <a:rPr lang="en-US" altLang="ko-KR" sz="1200" b="1" dirty="0" err="1">
                <a:solidFill>
                  <a:srgbClr val="3EABE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ransactionSynchronizationManager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sCurrentTransactionReadOnly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) ?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slave"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master"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ul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</a:p>
          <a:p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ko-KR" altLang="en-US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200" b="1" dirty="0">
              <a:solidFill>
                <a:srgbClr val="D8D8D8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03053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4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yBatisConfig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</a:t>
            </a:r>
            <a:r>
              <a:rPr lang="en-US" altLang="ko-KR" sz="1800" b="1" dirty="0" err="1"/>
              <a:t>MyBatis</a:t>
            </a:r>
            <a:r>
              <a:rPr lang="en-US" altLang="ko-KR" sz="1800" b="1" dirty="0"/>
              <a:t> </a:t>
            </a:r>
            <a:r>
              <a:rPr lang="ko-KR" altLang="en-US" sz="1800" b="1" dirty="0"/>
              <a:t>설정 구성</a:t>
            </a:r>
            <a:endParaRPr lang="en-US" altLang="ko-KR" sz="1800" b="1" dirty="0"/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461DC9-A00E-55E5-DFF8-E856FA0BD0D8}"/>
              </a:ext>
            </a:extLst>
          </p:cNvPr>
          <p:cNvSpPr txBox="1"/>
          <p:nvPr/>
        </p:nvSpPr>
        <p:spPr>
          <a:xfrm>
            <a:off x="461727" y="4546195"/>
            <a:ext cx="8926717" cy="1446986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a typeface="KB금융 본문체 Medium" panose="020B0603000000000000" pitchFamily="50" charset="-127"/>
              </a:rPr>
              <a:t>마스터 데이터소스용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qlSessionFactory</a:t>
            </a: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Primary: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동일한 타입의 빈이 여러 개 존재할 때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,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해당 빈을 우선적으로 선택하도록 지정하는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어노테이션입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여기서는 마스터 데이터소스용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에 지정되었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Bean(name = "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SqlSessionFactor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):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메서드가 생성하는 빈의 이름을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SqlSessionFactor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로 지정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Qualifier("masterDataSource"):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DataSource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라는 이름의 빈을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주입받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8B8EB3-8D82-EE16-823E-D92E7DFE99D0}"/>
              </a:ext>
            </a:extLst>
          </p:cNvPr>
          <p:cNvSpPr txBox="1"/>
          <p:nvPr/>
        </p:nvSpPr>
        <p:spPr>
          <a:xfrm>
            <a:off x="461727" y="1003077"/>
            <a:ext cx="8926717" cy="3337570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Primary</a:t>
            </a:r>
            <a:endParaRPr lang="en-US" altLang="ko-KR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Factory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masterDataSource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row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Except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br>
              <a:rPr lang="en-US" altLang="ko-KR" sz="14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en-US" altLang="ko-KR" sz="1400" b="1" dirty="0" err="1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yBatis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설정 파일 위치 지정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ourcePatternResolv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olv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thMatchingResourcePatternResolv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br>
              <a:rPr lang="en-US" altLang="ko-KR" sz="14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en-US" altLang="ko-KR" sz="1400" b="1" u="sng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pper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XML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파일 위치 지정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MapperLocation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olver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Resource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path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/mapper/*.xml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);</a:t>
            </a:r>
            <a:br>
              <a:rPr lang="en-US" altLang="ko-KR" sz="14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Objec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62999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4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yBatisConfig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</a:t>
            </a:r>
            <a:r>
              <a:rPr lang="en-US" altLang="ko-KR" sz="1800" b="1" dirty="0" err="1"/>
              <a:t>MyBatis</a:t>
            </a:r>
            <a:r>
              <a:rPr lang="en-US" altLang="ko-KR" sz="1800" b="1" dirty="0"/>
              <a:t> </a:t>
            </a:r>
            <a:r>
              <a:rPr lang="ko-KR" altLang="en-US" sz="1800" b="1" dirty="0"/>
              <a:t>설정 구성</a:t>
            </a:r>
            <a:endParaRPr lang="en-US" altLang="ko-KR" sz="1800" b="1" dirty="0"/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461DC9-A00E-55E5-DFF8-E856FA0BD0D8}"/>
              </a:ext>
            </a:extLst>
          </p:cNvPr>
          <p:cNvSpPr txBox="1"/>
          <p:nvPr/>
        </p:nvSpPr>
        <p:spPr>
          <a:xfrm>
            <a:off x="461727" y="4285561"/>
            <a:ext cx="9143468" cy="22364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 err="1"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 데이터소스용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qlSessionFactory</a:t>
            </a: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마스터와 유사하게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데이터소스용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설정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여기서는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Prima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가 지정되어 있지 않으므로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데이터소스가 선택될 경우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해당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가 사용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Bean(name = "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laveSqlSessionFactor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):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메서드가 생성하는 빈의 이름을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laveSqlSessionFactor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로 지정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Qualifier(“slaveDataSource"):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lave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라는 이름의 빈을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주입받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렇게 구성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yBatisConfig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는 마스터 및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데이터소스에 대한 각각의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생성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각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는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yBatis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매퍼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XML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파일을 참조하여 데이터베이스와의 상호작용을 수행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8B8EB3-8D82-EE16-823E-D92E7DFE99D0}"/>
              </a:ext>
            </a:extLst>
          </p:cNvPr>
          <p:cNvSpPr txBox="1"/>
          <p:nvPr/>
        </p:nvSpPr>
        <p:spPr>
          <a:xfrm>
            <a:off x="461728" y="1080197"/>
            <a:ext cx="8979728" cy="2962994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Factory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slaveDataSource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row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Except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en-US" altLang="ko-KR" sz="1400" b="1" dirty="0" err="1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yBatis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설정 파일 위치 지정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ourcePatternResolv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olv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thMatchingResourcePatternResolv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br>
              <a:rPr lang="en-US" altLang="ko-KR" sz="14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en-US" altLang="ko-KR" sz="1400" b="1" u="sng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pper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XML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파일 위치 지정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MapperLocation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olver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Resource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path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/mapper/*.xml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ssionFactoryBea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Objec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03933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5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yBatisSessionConfig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</a:t>
            </a:r>
            <a:r>
              <a:rPr lang="en-US" altLang="ko-KR" sz="1800" b="1" dirty="0" err="1"/>
              <a:t>MyBatis</a:t>
            </a:r>
            <a:r>
              <a:rPr lang="en-US" altLang="ko-KR" sz="1800" b="1" dirty="0"/>
              <a:t> </a:t>
            </a:r>
            <a:r>
              <a:rPr lang="ko-KR" altLang="en-US" sz="1800" b="1" dirty="0"/>
              <a:t>세션 구성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461DC9-A00E-55E5-DFF8-E856FA0BD0D8}"/>
              </a:ext>
            </a:extLst>
          </p:cNvPr>
          <p:cNvSpPr txBox="1"/>
          <p:nvPr/>
        </p:nvSpPr>
        <p:spPr>
          <a:xfrm>
            <a:off x="461727" y="4241495"/>
            <a:ext cx="8979729" cy="22804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ea typeface="KB금융 본문체 Medium" panose="020B0603000000000000" pitchFamily="50" charset="-127"/>
              </a:rPr>
              <a:t>Master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데이터소스용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@Bean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Bean(name = "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):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메서드가 생성하는 빈의 이름을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"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로 지정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@Qualifier("masterSqlSessionFactory"):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SqlSessionFactor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라는 이름의 빈을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주입받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Template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(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):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주어진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Factory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사용하여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을 생성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데이터소스용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빈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마스터와 동일한 방식으로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데이터소스용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빈을 설정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200" dirty="0">
              <a:effectLst/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렇게 구성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yBatisSessionConfig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는 각각의 데이터소스에 대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을 생성하며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, @Primary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어노테이션이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지정된 마스터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 우선적으로 선택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후 이러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qlSession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을 이용하여 각각의 데이터소스에 대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yBatis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와의 상호작용을 수행할 수 있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8B8EB3-8D82-EE16-823E-D92E7DFE99D0}"/>
              </a:ext>
            </a:extLst>
          </p:cNvPr>
          <p:cNvSpPr txBox="1"/>
          <p:nvPr/>
        </p:nvSpPr>
        <p:spPr>
          <a:xfrm>
            <a:off x="461728" y="1080196"/>
            <a:ext cx="8979728" cy="3051129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Configuration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yBatisSessionConfi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400" b="1" dirty="0">
              <a:solidFill>
                <a:srgbClr val="FFFFFF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Primary</a:t>
            </a:r>
            <a:endParaRPr lang="en-US" altLang="ko-KR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masterSqlSessionFactory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Templ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Bea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slaveSqlSessionFactory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Templ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Factor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D8D8D8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D8D8D8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80122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5. VO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1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</a:t>
            </a:r>
            <a:r>
              <a:rPr lang="en-US" altLang="ko-KR" sz="1800" b="1" dirty="0" err="1"/>
              <a:t>DataVO</a:t>
            </a:r>
            <a:r>
              <a:rPr lang="en-US" altLang="ko-KR" sz="1800" b="1" dirty="0"/>
              <a:t> </a:t>
            </a:r>
            <a:r>
              <a:rPr lang="ko-KR" altLang="en-US" sz="1800" b="1" dirty="0"/>
              <a:t>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84F616-A26E-6BC1-2A8C-7028E47CB3FE}"/>
              </a:ext>
            </a:extLst>
          </p:cNvPr>
          <p:cNvSpPr txBox="1"/>
          <p:nvPr/>
        </p:nvSpPr>
        <p:spPr>
          <a:xfrm>
            <a:off x="461728" y="1080196"/>
            <a:ext cx="8979728" cy="4560440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ckag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ava.sql.Timestamp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ava.util.D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mbok.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mbok.NoArgsConstructo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[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템플릿 설명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]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해당 파일은 객체를 구성하는 목적으로 사용되는 파일입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mbok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기능을 이용하여 간단한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O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구성을 하였습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getter / setter / </a:t>
            </a:r>
            <a:r>
              <a:rPr lang="en-US" altLang="ko-KR" sz="1400" b="1" dirty="0" err="1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oString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사용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NoArgsConstructo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생성자를 사용하지 않도록 선언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eg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m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webServer_nam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ntent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imestamp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D8D8D8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89303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5. VO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</a:t>
            </a:r>
            <a:r>
              <a:rPr lang="en-US" altLang="ko-KR" sz="1800" b="1" dirty="0" err="1"/>
              <a:t>DataInfoVO</a:t>
            </a:r>
            <a:r>
              <a:rPr lang="en-US" altLang="ko-KR" sz="1800" b="1" dirty="0"/>
              <a:t> </a:t>
            </a:r>
            <a:r>
              <a:rPr lang="ko-KR" altLang="en-US" sz="1800" b="1" dirty="0"/>
              <a:t>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6"/>
            <a:ext cx="8979728" cy="4813828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ckag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br>
              <a:rPr lang="en-US" altLang="ko-KR" sz="14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ava.sql.Timestamp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ava.util.D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mbok.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mbok.NoArgsConstructo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[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템플릿 설명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]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해당 파일은 객체를 구성하는 목적으로 사용되는 파일입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mbok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기능을 이용하여 간단한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O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구성을 하였습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getter / setter / </a:t>
            </a:r>
            <a:r>
              <a:rPr lang="en-US" altLang="ko-KR" sz="1400" b="1" dirty="0" err="1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oString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사용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NoArgsConstructo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생성자를 사용하지 않도록 선언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CAL_WRI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CAL_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S_WRI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S_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ota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host_addre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D8D8D8"/>
              </a:solidFill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449942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1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</a:t>
            </a:r>
            <a:r>
              <a:rPr lang="en-US" altLang="ko-KR" sz="1800" b="1" dirty="0"/>
              <a:t>Interface </a:t>
            </a:r>
            <a:r>
              <a:rPr lang="ko-KR" altLang="en-US" sz="1800" b="1" dirty="0"/>
              <a:t>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6"/>
            <a:ext cx="8979728" cy="2929944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ckage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8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Service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altLang="ko-KR" sz="18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ort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8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VO.DataInfoVO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altLang="ko-KR" sz="18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8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erface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8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</a:t>
            </a: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oid</a:t>
            </a:r>
            <a:r>
              <a:rPr lang="en-US" altLang="ko-KR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Data</a:t>
            </a:r>
            <a:r>
              <a:rPr lang="en-US" altLang="ko-KR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altLang="ko-KR" sz="18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8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67207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Impl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2731640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ko-KR" altLang="en-US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생성자 주입 형태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로 사용합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 err="1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wired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는 권장되지 않기에 생성자 주입 형태로 구성합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na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na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Imp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masterSqlSession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Qualifi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slaveSqlSession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is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is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7" y="3988103"/>
            <a:ext cx="8979729" cy="24787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a typeface="KB금융 본문체 Medium" panose="020B0603000000000000" pitchFamily="50" charset="-127"/>
              </a:rPr>
              <a:t>의존성 필드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: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마스터 데이터소스에 대한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: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 데이터소스에 대한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a typeface="KB금융 본문체 Medium" panose="020B0603000000000000" pitchFamily="50" charset="-127"/>
              </a:rPr>
              <a:t>생성자 주입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a typeface="KB금융 본문체 Medium" panose="020B0603000000000000" pitchFamily="50" charset="-127"/>
              </a:rPr>
              <a:t>@Qualifier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를 사용하여 각각의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빈을 명시적으로 지정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masterSqlSession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과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laveSqlSession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을 생성자로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주입받습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ea typeface="KB금융 본문체 Medium" panose="020B0603000000000000" pitchFamily="50" charset="-127"/>
              </a:rPr>
              <a:t>final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키워드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의존성이 변경되지 않도록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final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키워드를 사용하여 불변성을 강제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이로써 빈의 의존성이 변경되는 것을 방지하고 안정성을 높입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923112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88136304-6469-2F02-25B3-3F0821C1B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5937" y="560814"/>
            <a:ext cx="774125" cy="631633"/>
          </a:xfrm>
        </p:spPr>
        <p:txBody>
          <a:bodyPr/>
          <a:lstStyle/>
          <a:p>
            <a:endParaRPr lang="ko-KR" altLang="en-US" sz="3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9E4BBD-1BDC-DB08-DD52-C05199437437}"/>
              </a:ext>
            </a:extLst>
          </p:cNvPr>
          <p:cNvSpPr txBox="1"/>
          <p:nvPr/>
        </p:nvSpPr>
        <p:spPr>
          <a:xfrm>
            <a:off x="2875229" y="1171933"/>
            <a:ext cx="4929666" cy="5239884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프로젝트 목표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프로젝트 스펙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의존성 추가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400" dirty="0" err="1">
                <a:latin typeface="+mj-ea"/>
                <a:ea typeface="+mj-ea"/>
                <a:cs typeface="Arial" pitchFamily="34" charset="0"/>
              </a:rPr>
              <a:t>application.yml</a:t>
            </a:r>
            <a:r>
              <a:rPr lang="en-US" altLang="ko-KR" sz="240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설정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다중 데이터 소스 및 </a:t>
            </a:r>
            <a:r>
              <a:rPr lang="en-US" altLang="ko-KR" sz="2400" dirty="0" err="1">
                <a:latin typeface="+mj-ea"/>
                <a:ea typeface="+mj-ea"/>
                <a:cs typeface="Arial" pitchFamily="34" charset="0"/>
              </a:rPr>
              <a:t>MyBatis</a:t>
            </a:r>
            <a:r>
              <a:rPr lang="en-US" altLang="ko-KR" sz="2400" dirty="0">
                <a:latin typeface="+mj-ea"/>
                <a:ea typeface="+mj-ea"/>
                <a:cs typeface="Arial" pitchFamily="34" charset="0"/>
              </a:rPr>
              <a:t> </a:t>
            </a: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설정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400" dirty="0">
                <a:latin typeface="+mj-ea"/>
                <a:ea typeface="+mj-ea"/>
                <a:cs typeface="Arial" pitchFamily="34" charset="0"/>
              </a:rPr>
              <a:t>VO </a:t>
            </a: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구현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400" dirty="0">
                <a:latin typeface="+mj-ea"/>
                <a:ea typeface="+mj-ea"/>
                <a:cs typeface="Arial" pitchFamily="34" charset="0"/>
              </a:rPr>
              <a:t>Service </a:t>
            </a: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구현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400" dirty="0">
                <a:latin typeface="+mj-ea"/>
                <a:ea typeface="+mj-ea"/>
                <a:cs typeface="Arial" pitchFamily="34" charset="0"/>
              </a:rPr>
              <a:t>Mapper </a:t>
            </a:r>
            <a:r>
              <a:rPr lang="ko-KR" altLang="en-US" sz="2400" dirty="0">
                <a:latin typeface="+mj-ea"/>
                <a:ea typeface="+mj-ea"/>
                <a:cs typeface="Arial" pitchFamily="34" charset="0"/>
              </a:rPr>
              <a:t>구현</a:t>
            </a:r>
            <a:endParaRPr lang="en-US" altLang="ko-KR" sz="2400" dirty="0">
              <a:latin typeface="+mj-ea"/>
              <a:ea typeface="+mj-ea"/>
              <a:cs typeface="Arial" pitchFamily="34" charset="0"/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400" dirty="0">
                <a:latin typeface="+mj-ea"/>
                <a:ea typeface="+mj-ea"/>
                <a:cs typeface="Arial" pitchFamily="34" charset="0"/>
              </a:rPr>
              <a:t>CREATE TABLE QUERY</a:t>
            </a:r>
            <a:endParaRPr lang="ko-KR" altLang="en-US" sz="2400" dirty="0">
              <a:latin typeface="+mj-ea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2582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Impl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2268931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ko-KR" altLang="en-US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초에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번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 Insert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/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Transactional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Schedule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xedDela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7FB34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000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zon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Asia/Seoul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oi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l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master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Thread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시작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3508873"/>
            <a:ext cx="8979729" cy="252836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ea typeface="KB금융 본문체 Medium" panose="020B0603000000000000" pitchFamily="50" charset="-127"/>
              </a:rPr>
              <a:t>@Scheduled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endParaRPr lang="ko-KR" altLang="en-US" sz="1400" dirty="0">
              <a:ea typeface="KB금융 본문체 Medium" panose="020B0603000000000000" pitchFamily="50" charset="-127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주기적으로 실행되는 작업을 스케줄링하기 위한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fixedDelay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: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이전 작업의 종료 후 고정된 지연 시간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(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여기서는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1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초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)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이 지난 후 다음 작업이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시작됨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a typeface="KB금융 본문체 Medium" panose="020B0603000000000000" pitchFamily="50" charset="-127"/>
              </a:rPr>
              <a:t>Zone: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지역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/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시간대를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나타냄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ea typeface="KB금융 본문체 Medium" panose="020B0603000000000000" pitchFamily="50" charset="-127"/>
              </a:rPr>
              <a:t>@Transactional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endParaRPr lang="ko-KR" altLang="en-US" sz="1400" dirty="0">
              <a:ea typeface="KB금융 본문체 Medium" panose="020B0603000000000000" pitchFamily="50" charset="-127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트랜잭션 처리를 위한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메서드가 트랜잭션 안에서 실행됨을 보여줍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211120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Impl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2268931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ko-KR" altLang="en-US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초에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번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 Insert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/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Transactional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Schedule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xedDela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7FB34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000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zon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Asia/Seoul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oi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l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master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Thread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시작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3508873"/>
            <a:ext cx="8979729" cy="24787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insertData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메서드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a typeface="KB금융 본문체 Medium" panose="020B0603000000000000" pitchFamily="50" charset="-127"/>
              </a:rPr>
              <a:t>1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초에 한 번씩 실행되는 스케줄링 메서드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AutoCRUD_thread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를 생성하여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＂master＂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와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masterSqlSession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을 전달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스레드를 시작하여 백그라운드에서 데이터를 마스터 데이터베이스에 삽입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AutoCRUD_thread</a:t>
            </a: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별도의 쓰레드에서 동작하는 클래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a typeface="KB금융 본문체 Medium" panose="020B0603000000000000" pitchFamily="50" charset="-127"/>
              </a:rPr>
              <a:t>＂master＂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데이터소스와 연결된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SqlSession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을 통해 데이터를 삽입하는 역할을 수행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이 메서드는 주기적으로 백그라운드에서 데이터를 마스터 데이터베이스에 삽입하는 작업을 처리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이렇게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스케줄링된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 작업은 주기적으로 실행되어 데이터 삽입을 자동으로 수행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628237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Impl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3194348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ko-KR" altLang="en-US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초에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번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 Select </a:t>
            </a: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return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/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Transactiona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adOnl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ru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Schedule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xedDela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7FB34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000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zon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Asia/Seoul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m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Mapp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m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l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Host_addre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,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Thread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시작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4274545"/>
            <a:ext cx="8979729" cy="171312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읽기 전용 트랜잭션으로 설정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데이터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조회용이므로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읽기 전용으로 설정하여 성능 향상을 기대할 수 있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메서드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1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초에 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1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번씩 실행되는 스케줄링 메서드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laveSqlSession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을 이용하여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DataMapper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얻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메서드를 호출하여 데이터를 조회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하며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조회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DataInfoVO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반환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846769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erviceImpl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3194348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ko-KR" altLang="en-US" sz="1400" b="1" dirty="0">
              <a:solidFill>
                <a:srgbClr val="D8D8D8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초에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번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 Select </a:t>
            </a:r>
          </a:p>
          <a:p>
            <a:pPr lvl="1"/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return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/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Transactiona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adOnl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ru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Schedule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xedDelay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7FB34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000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>
                <a:solidFill>
                  <a:srgbClr val="EB4B64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zon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Asia/Seoul"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m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SqlSession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Mapp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m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l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Host_addres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,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rt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 </a:t>
            </a:r>
            <a:r>
              <a:rPr lang="en-US" altLang="ko-KR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Thread </a:t>
            </a:r>
            <a:r>
              <a:rPr lang="ko-KR" altLang="en-US" sz="14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시작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tur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4274545"/>
            <a:ext cx="8979729" cy="171312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자동 데이터 삽입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조회한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DataInfoVO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의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getHost_address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()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이용하여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AutoCRUD_threa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를 생성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하며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생성한 쓰레드에 조회한 데이터의 호스트 주소와 </a:t>
            </a:r>
            <a:r>
              <a:rPr lang="en-US" altLang="ko-KR" sz="1400" dirty="0" err="1">
                <a:effectLst/>
                <a:ea typeface="KB금융 본문체 Medium" panose="020B0603000000000000" pitchFamily="50" charset="-127"/>
              </a:rPr>
              <a:t>masterSqlSession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을 전달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백그라운드에서 자동으로 마스터 데이터베이스에 데이터를 삽입하도록 구성되어 있습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 메서드는 주기적으로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스케줄링되어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 err="1">
                <a:effectLst/>
                <a:ea typeface="KB금융 본문체 Medium" panose="020B0603000000000000" pitchFamily="50" charset="-127"/>
              </a:rPr>
              <a:t>슬레이브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 데이터베이스에서 데이터를 조회하고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,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조회한 데이터를 바탕으로 마스터 데이터베이스에 데이터를 자동으로 삽입합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 </a:t>
            </a:r>
            <a:r>
              <a:rPr lang="ko-KR" altLang="en-US" sz="1400" dirty="0">
                <a:effectLst/>
                <a:ea typeface="KB금융 본문체 Medium" panose="020B0603000000000000" pitchFamily="50" charset="-127"/>
              </a:rPr>
              <a:t>이를 통해 화면이 호출될 때마다 자동으로 데이터가 조회되고 삽입되는 동작이 이루어집니다</a:t>
            </a:r>
            <a:r>
              <a:rPr lang="en-US" altLang="ko-KR" sz="1400" dirty="0">
                <a:effectLst/>
                <a:ea typeface="KB금융 본문체 Medium" panose="020B0603000000000000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86799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3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1629952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nal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{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uper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is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is</a:t>
            </a:r>
            <a:r>
              <a:rPr lang="en-US" altLang="ko-KR" sz="14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5717755"/>
            <a:ext cx="8979729" cy="61143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000" b="1" dirty="0">
              <a:effectLst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347462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6. Service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3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Service</a:t>
            </a:r>
            <a:r>
              <a:rPr lang="ko-KR" altLang="en-US" sz="1800" b="1" dirty="0"/>
              <a:t>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4637558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gg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u="sng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gg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ggerFactory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Logg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t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un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>
                <a:solidFill>
                  <a:srgbClr val="7FB34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0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8DCBE2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200" b="1" dirty="0">
              <a:solidFill>
                <a:srgbClr val="8DCBE2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u="sng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2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extend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read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inal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2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2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{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i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his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u="sng" dirty="0" err="1">
                <a:solidFill>
                  <a:srgbClr val="6FC5E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rivat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gg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gg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LoggerFactory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Logg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utoCRUD_thread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t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un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>
                <a:solidFill>
                  <a:srgbClr val="7FB34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0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at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tring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sg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ll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Override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oid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un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 {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un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++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Dat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e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imestamp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ystem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urrentTimeMilli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)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Content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eger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oString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>
                <a:solidFill>
                  <a:srgbClr val="EFC09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unt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t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m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qlSession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etMappe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lass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m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Data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5717755"/>
            <a:ext cx="8979729" cy="61143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000" b="1" dirty="0">
              <a:effectLst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758340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7. Mapper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1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java</a:t>
            </a:r>
            <a:r>
              <a:rPr lang="en-US" altLang="ko-KR" sz="1800" b="1" dirty="0"/>
              <a:t>] </a:t>
            </a:r>
            <a:r>
              <a:rPr lang="ko-KR" altLang="en-US" sz="1800" b="1" dirty="0"/>
              <a:t>일대일 매핑 인터페이스 구현</a:t>
            </a:r>
            <a:r>
              <a:rPr lang="en-US" altLang="ko-KR" sz="1800" b="1" dirty="0"/>
              <a:t> </a:t>
            </a:r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7"/>
            <a:ext cx="8979728" cy="2467234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**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해당 파일은 </a:t>
            </a:r>
            <a:r>
              <a:rPr lang="en-US" altLang="ko-KR" sz="1400" b="1" u="sng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xml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파일과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1:1 </a:t>
            </a:r>
            <a:r>
              <a:rPr lang="ko-KR" altLang="en-US" sz="1400" b="1" dirty="0" err="1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매핑되는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인터페이스 입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 (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환경파일 내에서 지정함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해당 </a:t>
            </a:r>
            <a:r>
              <a:rPr lang="en-US" altLang="ko-KR" sz="1400" b="1" u="sng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pper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폴더는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Repository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 err="1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어노테이션을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필수적으로 사용합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[ 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참고 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]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-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u="sng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xml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파일이 아닌 해당 파일 내에서 처리하려면 </a:t>
            </a:r>
            <a:r>
              <a:rPr lang="en-US" altLang="ko-KR" sz="1400" b="1" dirty="0">
                <a:solidFill>
                  <a:srgbClr val="D9E577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Mapper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ko-KR" altLang="en-US" sz="1400" b="1" dirty="0" err="1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어노테이션을</a:t>
            </a: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사용하길 권장합니다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*</a:t>
            </a:r>
            <a:r>
              <a:rPr lang="en-US" altLang="ko-KR" sz="1400" b="1" dirty="0">
                <a:solidFill>
                  <a:srgbClr val="CCDF3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FFFF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@Repository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ublic</a:t>
            </a:r>
            <a:r>
              <a:rPr lang="ko-KR" altLang="en-US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erface</a:t>
            </a:r>
            <a:r>
              <a:rPr lang="ko-KR" altLang="en-US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D197D9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ko-KR" altLang="en-US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{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t</a:t>
            </a:r>
            <a:r>
              <a:rPr lang="ko-KR" altLang="en-US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ko-KR" altLang="en-US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Vo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;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400" b="1" dirty="0" err="1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InfoVO</a:t>
            </a:r>
            <a:r>
              <a:rPr lang="ko-KR" altLang="en-US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4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;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  <a:endParaRPr lang="ko-KR" altLang="en-US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C2D598-7159-3A63-857E-C9370D1D032A}"/>
              </a:ext>
            </a:extLst>
          </p:cNvPr>
          <p:cNvSpPr txBox="1"/>
          <p:nvPr/>
        </p:nvSpPr>
        <p:spPr>
          <a:xfrm>
            <a:off x="461728" y="5717755"/>
            <a:ext cx="8979729" cy="61143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000" b="1" dirty="0">
              <a:effectLst/>
              <a:ea typeface="KB금융 본문체 Medium" panose="020B0603000000000000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B3F66E-BCE0-2A3A-668B-30BC5566254B}"/>
              </a:ext>
            </a:extLst>
          </p:cNvPr>
          <p:cNvSpPr txBox="1"/>
          <p:nvPr/>
        </p:nvSpPr>
        <p:spPr>
          <a:xfrm>
            <a:off x="461727" y="3988103"/>
            <a:ext cx="8979729" cy="247879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dirty="0">
                <a:ea typeface="KB금융 본문체 Medium" panose="020B0603000000000000" pitchFamily="50" charset="-127"/>
              </a:rPr>
              <a:t>@Repository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endParaRPr lang="ko-KR" altLang="en-US" sz="1400" dirty="0">
              <a:ea typeface="KB금융 본문체 Medium" panose="020B0603000000000000" pitchFamily="50" charset="-127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스프링에서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레파지토리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(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데이터 액세스 객체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)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로 사용됨을 나타내는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a typeface="KB금융 본문체 Medium" panose="020B0603000000000000" pitchFamily="50" charset="-127"/>
              </a:rPr>
              <a:t>메서드 설명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insertData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메서드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: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데이터를 삽입하는 메서드로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,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DataVO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객체를 매개변수로 받아 삽입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 err="1"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메서드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: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데이터 카운트를 조회하는 메서드로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, </a:t>
            </a:r>
            <a:r>
              <a:rPr lang="en-US" altLang="ko-KR" sz="1400" dirty="0" err="1">
                <a:ea typeface="KB금융 본문체 Medium" panose="020B0603000000000000" pitchFamily="50" charset="-127"/>
              </a:rPr>
              <a:t>DataInfoVO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객체를 반환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altLang="ko-KR" sz="1400" dirty="0">
              <a:ea typeface="KB금융 본문체 Medium" panose="020B0603000000000000" pitchFamily="50" charset="-127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ko-KR" altLang="en-US" sz="1400" dirty="0">
                <a:ea typeface="KB금융 본문체 Medium" panose="020B0603000000000000" pitchFamily="50" charset="-127"/>
              </a:rPr>
              <a:t>참고 사항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en-US" altLang="ko-KR" sz="1400" dirty="0">
                <a:ea typeface="KB금융 본문체 Medium" panose="020B0603000000000000" pitchFamily="50" charset="-127"/>
              </a:rPr>
              <a:t>Mapper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폴더 내에서는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@Repository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을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 필수로 사용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</a:pPr>
            <a:r>
              <a:rPr lang="ko-KR" altLang="en-US" sz="1400" dirty="0">
                <a:ea typeface="KB금융 본문체 Medium" panose="020B0603000000000000" pitchFamily="50" charset="-127"/>
              </a:rPr>
              <a:t>만약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XML 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파일이 아니라 해당 파일 내에서 데이터베이스 처리를 하려면 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@Mapper </a:t>
            </a:r>
            <a:r>
              <a:rPr lang="ko-KR" altLang="en-US" sz="1400" dirty="0" err="1">
                <a:ea typeface="KB금융 본문체 Medium" panose="020B0603000000000000" pitchFamily="50" charset="-127"/>
              </a:rPr>
              <a:t>어노테이션을</a:t>
            </a:r>
            <a:r>
              <a:rPr lang="ko-KR" altLang="en-US" sz="1400" dirty="0">
                <a:ea typeface="KB금융 본문체 Medium" panose="020B0603000000000000" pitchFamily="50" charset="-127"/>
              </a:rPr>
              <a:t> 사용하는 것이 권장됩니다</a:t>
            </a:r>
            <a:r>
              <a:rPr lang="en-US" altLang="ko-KR" sz="1400" dirty="0">
                <a:ea typeface="KB금융 본문체 Medium" panose="020B0603000000000000" pitchFamily="50" charset="-127"/>
              </a:rPr>
              <a:t>.</a:t>
            </a:r>
            <a:endParaRPr lang="en-US" altLang="ko-KR" sz="1400" dirty="0">
              <a:effectLst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61983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7. Mapper </a:t>
            </a:r>
            <a:r>
              <a:rPr lang="ko-KR" altLang="en-US" dirty="0"/>
              <a:t>구현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12469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[</a:t>
            </a:r>
            <a:r>
              <a:rPr lang="en-US" altLang="ko-KR" sz="1800" b="1" dirty="0">
                <a:solidFill>
                  <a:srgbClr val="D25252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Mapper</a:t>
            </a:r>
            <a:r>
              <a:rPr lang="en-US" altLang="ko-KR" sz="1800" b="1" dirty="0">
                <a:solidFill>
                  <a:srgbClr val="D2525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.xml</a:t>
            </a:r>
            <a:r>
              <a:rPr lang="en-US" altLang="ko-KR" sz="1800" b="1" dirty="0"/>
              <a:t>] </a:t>
            </a:r>
            <a:r>
              <a:rPr lang="en-US" altLang="ko-KR" sz="1800" b="1" dirty="0" err="1"/>
              <a:t>MyBatis</a:t>
            </a:r>
            <a:r>
              <a:rPr lang="ko-KR" altLang="en-US" sz="1800" b="1" dirty="0"/>
              <a:t> </a:t>
            </a:r>
            <a:r>
              <a:rPr lang="en-US" altLang="ko-KR" sz="1800" b="1" dirty="0"/>
              <a:t>XML</a:t>
            </a:r>
            <a:r>
              <a:rPr lang="ko-KR" altLang="en-US" sz="1800" b="1" dirty="0"/>
              <a:t> 파일</a:t>
            </a:r>
            <a:endParaRPr lang="en-US" altLang="ko-KR" sz="1800" b="1" dirty="0"/>
          </a:p>
          <a:p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6"/>
            <a:ext cx="8979728" cy="5478422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pper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spac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Mapper.DataMapper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b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d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DataList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ultTyp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VO.DataVO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 </a:t>
            </a:r>
            <a:r>
              <a:rPr lang="en-US" altLang="ko-KR" sz="1200" b="1" u="sng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um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ntents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e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ROM data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/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d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Data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arameterTyp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VO.DataVO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 INTO data(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webServer_nam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contents, date, </a:t>
            </a:r>
            <a:r>
              <a:rPr lang="en-US" altLang="ko-KR" sz="12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alues (#{webServer_name}, #{contents}, #{date}, #{</a:t>
            </a:r>
            <a:r>
              <a:rPr lang="en-US" altLang="ko-KR" sz="1200" b="1" u="sng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)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/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sert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d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CountData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ultType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=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.example.demo.VO.DataInfoVO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select count(*) from data where </a:t>
            </a:r>
            <a:r>
              <a:rPr lang="en-US" altLang="ko-KR" sz="12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'WW') as "LOCAL_WRITE"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select count(*) from data where </a:t>
            </a:r>
            <a:r>
              <a:rPr lang="en-US" altLang="ko-KR" sz="12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'RR') as "LOCAL_READ"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select count(*) from data where </a:t>
            </a:r>
            <a:r>
              <a:rPr lang="en-US" altLang="ko-KR" sz="12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'W') as "AS_WRITE"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select count(*) from data where </a:t>
            </a:r>
            <a:r>
              <a:rPr lang="en-US" altLang="ko-KR" sz="1200" b="1" u="sng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w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= 'R') as "AS_READ"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unt(*) as "TOTAL",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ASE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4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WHEN 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et_server_add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::text LIKE ‘&lt;</a:t>
            </a:r>
            <a:r>
              <a:rPr lang="en-US" altLang="ko-KR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</a:t>
            </a:r>
            <a:r>
              <a:rPr lang="ko-KR" altLang="en-US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b</a:t>
            </a:r>
            <a:r>
              <a:rPr lang="ko-KR" altLang="en-US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의 </a:t>
            </a:r>
            <a:r>
              <a:rPr lang="en-US" altLang="ko-KR" sz="1200" b="1" dirty="0" err="1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p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' THEN 'master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4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WHEN 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et_server_add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::text LIKE ‘&lt;slave1</a:t>
            </a:r>
            <a:r>
              <a:rPr lang="ko-KR" altLang="en-US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b</a:t>
            </a:r>
            <a:r>
              <a:rPr lang="ko-KR" altLang="en-US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의 </a:t>
            </a:r>
            <a:r>
              <a:rPr lang="en-US" altLang="ko-KR" sz="1200" b="1" dirty="0" err="1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p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' THEN 'slave1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4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WHEN 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net_server_addr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)::text LIKE ‘&lt;slave2</a:t>
            </a:r>
            <a:r>
              <a:rPr lang="ko-KR" altLang="en-US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 err="1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b</a:t>
            </a:r>
            <a:r>
              <a:rPr lang="ko-KR" altLang="en-US" sz="1200" b="1" dirty="0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의 </a:t>
            </a:r>
            <a:r>
              <a:rPr lang="en-US" altLang="ko-KR" sz="1200" b="1" dirty="0" err="1">
                <a:solidFill>
                  <a:srgbClr val="D8D8D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p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' THEN 'slave2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3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end as </a:t>
            </a:r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host_address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2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ROM data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/</a:t>
            </a:r>
            <a:r>
              <a:rPr lang="en-US" altLang="ko-KR" sz="12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elect</a:t>
            </a:r>
            <a:r>
              <a:rPr lang="en-US" altLang="ko-KR" sz="12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</a:p>
          <a:p>
            <a:pPr lvl="1"/>
            <a:endParaRPr lang="en-US" altLang="ko-KR" sz="1200" b="1" dirty="0">
              <a:solidFill>
                <a:srgbClr val="79ABFF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r>
              <a:rPr lang="en-US" altLang="ko-KR" sz="14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/</a:t>
            </a:r>
            <a:r>
              <a:rPr lang="en-US" altLang="ko-KR" sz="1400" b="1" dirty="0">
                <a:solidFill>
                  <a:srgbClr val="BED6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pper</a:t>
            </a:r>
            <a:r>
              <a:rPr lang="en-US" altLang="ko-KR" sz="1400" b="1" dirty="0">
                <a:solidFill>
                  <a:srgbClr val="79ABFF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88869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8. CREATE TABLE QUERY</a:t>
            </a:r>
            <a:endParaRPr lang="ko-KR" altLang="en-US" dirty="0"/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55D22090-663C-3078-31F6-7119F70F8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997645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2. DATA </a:t>
            </a:r>
            <a:r>
              <a:rPr lang="ko-KR" altLang="en-US" sz="1800" b="1" dirty="0"/>
              <a:t>테이블 생성 쿼리</a:t>
            </a:r>
            <a:br>
              <a:rPr lang="en-US" altLang="ko-KR" sz="1800" b="1" dirty="0"/>
            </a:b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CA40C-3D3E-CAE5-75A2-1B796A62C4E3}"/>
              </a:ext>
            </a:extLst>
          </p:cNvPr>
          <p:cNvSpPr txBox="1"/>
          <p:nvPr/>
        </p:nvSpPr>
        <p:spPr>
          <a:xfrm>
            <a:off x="461728" y="1080196"/>
            <a:ext cx="8979728" cy="197147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algn="l"/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CREATE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TABLE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data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</a:p>
          <a:p>
            <a:pPr algn="l"/>
            <a:r>
              <a:rPr lang="en-US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  num serial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PRIMARY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KEY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 algn="l"/>
            <a:r>
              <a:rPr lang="de-DE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  webserver_name </a:t>
            </a:r>
            <a:r>
              <a:rPr lang="de-DE" altLang="ko-KR" sz="1800" b="1" dirty="0">
                <a:solidFill>
                  <a:srgbClr val="000080"/>
                </a:solidFill>
                <a:latin typeface="Consolas" panose="020B0609020204030204" pitchFamily="49" charset="0"/>
              </a:rPr>
              <a:t>varchar</a:t>
            </a:r>
            <a:r>
              <a:rPr lang="de-DE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de-DE" altLang="ko-KR" sz="1800" b="1" dirty="0">
                <a:solidFill>
                  <a:srgbClr val="0000FF"/>
                </a:solidFill>
                <a:latin typeface="Consolas" panose="020B0609020204030204" pitchFamily="49" charset="0"/>
              </a:rPr>
              <a:t>50</a:t>
            </a:r>
            <a:r>
              <a:rPr lang="de-DE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de-DE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NULL</a:t>
            </a:r>
            <a:r>
              <a:rPr lang="de-DE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 algn="l"/>
            <a:r>
              <a:rPr lang="en-US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  contents </a:t>
            </a:r>
            <a:r>
              <a:rPr lang="en-US" altLang="ko-KR" sz="1800" b="1" dirty="0">
                <a:solidFill>
                  <a:srgbClr val="000080"/>
                </a:solidFill>
                <a:latin typeface="Consolas" panose="020B0609020204030204" pitchFamily="49" charset="0"/>
              </a:rPr>
              <a:t>text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 algn="l"/>
            <a:r>
              <a:rPr lang="en-US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altLang="ko-KR" sz="1800" b="1" dirty="0">
                <a:solidFill>
                  <a:srgbClr val="000080"/>
                </a:solidFill>
                <a:latin typeface="Consolas" panose="020B0609020204030204" pitchFamily="49" charset="0"/>
              </a:rPr>
              <a:t>date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000080"/>
                </a:solidFill>
                <a:latin typeface="Consolas" panose="020B0609020204030204" pitchFamily="49" charset="0"/>
              </a:rPr>
              <a:t>timestamp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DEFAULT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NULL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 algn="l"/>
            <a:r>
              <a:rPr lang="en-US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altLang="ko-KR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rw</a:t>
            </a:r>
            <a:r>
              <a:rPr lang="en-US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000080"/>
                </a:solidFill>
                <a:latin typeface="Consolas" panose="020B0609020204030204" pitchFamily="49" charset="0"/>
              </a:rPr>
              <a:t>varchar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altLang="ko-KR" sz="1800" b="1" dirty="0">
                <a:solidFill>
                  <a:srgbClr val="0000FF"/>
                </a:solidFill>
                <a:latin typeface="Consolas" panose="020B0609020204030204" pitchFamily="49" charset="0"/>
              </a:rPr>
              <a:t>10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NOT</a:t>
            </a:r>
            <a:r>
              <a:rPr lang="en-US" altLang="ko-KR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altLang="ko-KR" sz="1800" b="1" dirty="0">
                <a:solidFill>
                  <a:srgbClr val="800000"/>
                </a:solidFill>
                <a:latin typeface="Consolas" panose="020B0609020204030204" pitchFamily="49" charset="0"/>
              </a:rPr>
              <a:t>NULL</a:t>
            </a:r>
          </a:p>
          <a:p>
            <a:pPr algn="l"/>
            <a:r>
              <a:rPr lang="en-US" altLang="ko-KR" sz="18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en-US" altLang="ko-KR" sz="1800" dirty="0">
                <a:solidFill>
                  <a:srgbClr val="FF0000"/>
                </a:solidFill>
                <a:latin typeface="Consolas" panose="020B0609020204030204" pitchFamily="49" charset="0"/>
              </a:rPr>
              <a:t>;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092495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2844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목표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C06E567-EA22-21A7-69BE-9449462EA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1"/>
            <a:ext cx="9143468" cy="24974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800" b="1" dirty="0"/>
              <a:t>프로젝트 목표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989C18-2E4C-AC6A-8B7F-72DEA80BD26F}"/>
              </a:ext>
            </a:extLst>
          </p:cNvPr>
          <p:cNvSpPr txBox="1"/>
          <p:nvPr/>
        </p:nvSpPr>
        <p:spPr>
          <a:xfrm>
            <a:off x="461727" y="1233889"/>
            <a:ext cx="8924643" cy="523301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altLang="ko-KR" dirty="0">
                <a:latin typeface="+mn-ea"/>
                <a:cs typeface="Arial" pitchFamily="34" charset="0"/>
              </a:rPr>
              <a:t>1. Master/Slave Database </a:t>
            </a:r>
            <a:r>
              <a:rPr lang="ko-KR" altLang="en-US" dirty="0">
                <a:latin typeface="+mn-ea"/>
                <a:cs typeface="Arial" pitchFamily="34" charset="0"/>
              </a:rPr>
              <a:t>구성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>
                <a:latin typeface="+mn-ea"/>
                <a:cs typeface="Arial" pitchFamily="34" charset="0"/>
              </a:rPr>
              <a:t>Spring Boot</a:t>
            </a:r>
            <a:r>
              <a:rPr lang="ko-KR" altLang="en-US" sz="1600" dirty="0">
                <a:latin typeface="+mn-ea"/>
                <a:cs typeface="Arial" pitchFamily="34" charset="0"/>
              </a:rPr>
              <a:t>를 활용하여 </a:t>
            </a:r>
            <a:r>
              <a:rPr lang="en-US" altLang="ko-KR" sz="1600" dirty="0">
                <a:latin typeface="+mn-ea"/>
                <a:cs typeface="Arial" pitchFamily="34" charset="0"/>
              </a:rPr>
              <a:t>PostgreSQL </a:t>
            </a:r>
            <a:r>
              <a:rPr lang="ko-KR" altLang="en-US" sz="1600" dirty="0">
                <a:latin typeface="+mn-ea"/>
                <a:cs typeface="Arial" pitchFamily="34" charset="0"/>
              </a:rPr>
              <a:t>데이터베이스에 </a:t>
            </a:r>
            <a:r>
              <a:rPr lang="en-US" altLang="ko-KR" sz="1600" dirty="0">
                <a:latin typeface="+mn-ea"/>
                <a:cs typeface="Arial" pitchFamily="34" charset="0"/>
              </a:rPr>
              <a:t>Master/Slave </a:t>
            </a:r>
            <a:r>
              <a:rPr lang="ko-KR" altLang="en-US" sz="1600" dirty="0">
                <a:latin typeface="+mn-ea"/>
                <a:cs typeface="Arial" pitchFamily="34" charset="0"/>
              </a:rPr>
              <a:t>아키텍처를 구현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ko-KR" sz="1200" dirty="0">
              <a:latin typeface="+mn-ea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en-US" altLang="ko-KR" dirty="0">
                <a:latin typeface="+mn-ea"/>
                <a:cs typeface="Arial" pitchFamily="34" charset="0"/>
              </a:rPr>
              <a:t>2. Read/Write </a:t>
            </a:r>
            <a:r>
              <a:rPr lang="ko-KR" altLang="en-US" dirty="0">
                <a:latin typeface="+mn-ea"/>
                <a:cs typeface="Arial" pitchFamily="34" charset="0"/>
              </a:rPr>
              <a:t>분리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쓰기 작업은 </a:t>
            </a:r>
            <a:r>
              <a:rPr lang="en-US" altLang="ko-KR" sz="1600" dirty="0">
                <a:latin typeface="+mn-ea"/>
                <a:cs typeface="Arial" pitchFamily="34" charset="0"/>
              </a:rPr>
              <a:t>Master</a:t>
            </a:r>
            <a:r>
              <a:rPr lang="ko-KR" altLang="en-US" sz="1600" dirty="0">
                <a:latin typeface="+mn-ea"/>
                <a:cs typeface="Arial" pitchFamily="34" charset="0"/>
              </a:rPr>
              <a:t>에</a:t>
            </a:r>
            <a:r>
              <a:rPr lang="en-US" altLang="ko-KR" sz="1600" dirty="0">
                <a:latin typeface="+mn-ea"/>
                <a:cs typeface="Arial" pitchFamily="34" charset="0"/>
              </a:rPr>
              <a:t>, </a:t>
            </a:r>
            <a:r>
              <a:rPr lang="ko-KR" altLang="en-US" sz="1600" dirty="0">
                <a:latin typeface="+mn-ea"/>
                <a:cs typeface="Arial" pitchFamily="34" charset="0"/>
              </a:rPr>
              <a:t>읽기 작업은 </a:t>
            </a:r>
            <a:r>
              <a:rPr lang="en-US" altLang="ko-KR" sz="1600" dirty="0">
                <a:latin typeface="+mn-ea"/>
                <a:cs typeface="Arial" pitchFamily="34" charset="0"/>
              </a:rPr>
              <a:t>Slave</a:t>
            </a:r>
            <a:r>
              <a:rPr lang="ko-KR" altLang="en-US" sz="1600" dirty="0">
                <a:latin typeface="+mn-ea"/>
                <a:cs typeface="Arial" pitchFamily="34" charset="0"/>
              </a:rPr>
              <a:t>에 분산하여 성능을 향상시킵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ko-KR" sz="1200" dirty="0">
              <a:latin typeface="+mn-ea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en-US" altLang="ko-KR" dirty="0">
                <a:latin typeface="+mn-ea"/>
                <a:cs typeface="Arial" pitchFamily="34" charset="0"/>
              </a:rPr>
              <a:t>3. </a:t>
            </a:r>
            <a:r>
              <a:rPr lang="ko-KR" altLang="en-US" dirty="0" err="1">
                <a:latin typeface="+mn-ea"/>
                <a:cs typeface="Arial" pitchFamily="34" charset="0"/>
              </a:rPr>
              <a:t>스케쥴러</a:t>
            </a:r>
            <a:r>
              <a:rPr lang="ko-KR" altLang="en-US" dirty="0">
                <a:latin typeface="+mn-ea"/>
                <a:cs typeface="Arial" pitchFamily="34" charset="0"/>
              </a:rPr>
              <a:t> 구성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주기적인 </a:t>
            </a:r>
            <a:r>
              <a:rPr lang="en-US" altLang="ko-KR" sz="1600" dirty="0">
                <a:latin typeface="+mn-ea"/>
                <a:cs typeface="Arial" pitchFamily="34" charset="0"/>
              </a:rPr>
              <a:t>DB insert</a:t>
            </a:r>
            <a:r>
              <a:rPr lang="ko-KR" altLang="en-US" sz="1600" dirty="0">
                <a:latin typeface="+mn-ea"/>
                <a:cs typeface="Arial" pitchFamily="34" charset="0"/>
              </a:rPr>
              <a:t>와 </a:t>
            </a:r>
            <a:r>
              <a:rPr lang="en-US" altLang="ko-KR" sz="1600" dirty="0">
                <a:latin typeface="+mn-ea"/>
                <a:cs typeface="Arial" pitchFamily="34" charset="0"/>
              </a:rPr>
              <a:t>select</a:t>
            </a:r>
            <a:r>
              <a:rPr lang="ko-KR" altLang="en-US" sz="1600" dirty="0">
                <a:latin typeface="+mn-ea"/>
                <a:cs typeface="Arial" pitchFamily="34" charset="0"/>
              </a:rPr>
              <a:t>를 통해 </a:t>
            </a:r>
            <a:r>
              <a:rPr lang="en-US" altLang="ko-KR" sz="1600" dirty="0">
                <a:latin typeface="+mn-ea"/>
                <a:cs typeface="Arial" pitchFamily="34" charset="0"/>
              </a:rPr>
              <a:t>Failover </a:t>
            </a:r>
            <a:r>
              <a:rPr lang="ko-KR" altLang="en-US" sz="1600" dirty="0">
                <a:latin typeface="+mn-ea"/>
                <a:cs typeface="Arial" pitchFamily="34" charset="0"/>
              </a:rPr>
              <a:t>테스트를 진행하며</a:t>
            </a:r>
            <a:r>
              <a:rPr lang="en-US" altLang="ko-KR" sz="1600" dirty="0">
                <a:latin typeface="+mn-ea"/>
                <a:cs typeface="Arial" pitchFamily="34" charset="0"/>
              </a:rPr>
              <a:t>, </a:t>
            </a:r>
            <a:r>
              <a:rPr lang="ko-KR" altLang="en-US" sz="1600" dirty="0">
                <a:latin typeface="+mn-ea"/>
                <a:cs typeface="Arial" pitchFamily="34" charset="0"/>
              </a:rPr>
              <a:t>장애 대응 및 복구 전략을 수립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ko-KR" sz="1200" dirty="0">
              <a:latin typeface="+mn-ea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en-US" altLang="ko-KR" dirty="0">
                <a:latin typeface="+mn-ea"/>
                <a:cs typeface="Arial" pitchFamily="34" charset="0"/>
              </a:rPr>
              <a:t>4. </a:t>
            </a:r>
            <a:r>
              <a:rPr lang="ko-KR" altLang="en-US" dirty="0">
                <a:latin typeface="+mn-ea"/>
                <a:cs typeface="Arial" pitchFamily="34" charset="0"/>
              </a:rPr>
              <a:t>쓰레드를 통한 병렬작업 구성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쓰레드를 이용해 </a:t>
            </a:r>
            <a:r>
              <a:rPr lang="en-US" altLang="ko-KR" sz="1600" dirty="0">
                <a:latin typeface="+mn-ea"/>
                <a:cs typeface="Arial" pitchFamily="34" charset="0"/>
              </a:rPr>
              <a:t>select</a:t>
            </a:r>
            <a:r>
              <a:rPr lang="ko-KR" altLang="en-US" sz="1600" dirty="0">
                <a:latin typeface="+mn-ea"/>
                <a:cs typeface="Arial" pitchFamily="34" charset="0"/>
              </a:rPr>
              <a:t>와 </a:t>
            </a:r>
            <a:r>
              <a:rPr lang="en-US" altLang="ko-KR" sz="1600" dirty="0">
                <a:latin typeface="+mn-ea"/>
                <a:cs typeface="Arial" pitchFamily="34" charset="0"/>
              </a:rPr>
              <a:t>insert</a:t>
            </a:r>
            <a:r>
              <a:rPr lang="ko-KR" altLang="en-US" sz="1600" dirty="0">
                <a:latin typeface="+mn-ea"/>
                <a:cs typeface="Arial" pitchFamily="34" charset="0"/>
              </a:rPr>
              <a:t>를 동시에 수행하며</a:t>
            </a:r>
            <a:r>
              <a:rPr lang="en-US" altLang="ko-KR" sz="1600" dirty="0">
                <a:latin typeface="+mn-ea"/>
                <a:cs typeface="Arial" pitchFamily="34" charset="0"/>
              </a:rPr>
              <a:t>, Master</a:t>
            </a:r>
            <a:r>
              <a:rPr lang="ko-KR" altLang="en-US" sz="1600" dirty="0">
                <a:latin typeface="+mn-ea"/>
                <a:cs typeface="Arial" pitchFamily="34" charset="0"/>
              </a:rPr>
              <a:t>와 </a:t>
            </a:r>
            <a:r>
              <a:rPr lang="en-US" altLang="ko-KR" sz="1600" dirty="0">
                <a:latin typeface="+mn-ea"/>
                <a:cs typeface="Arial" pitchFamily="34" charset="0"/>
              </a:rPr>
              <a:t>Slave </a:t>
            </a:r>
            <a:r>
              <a:rPr lang="ko-KR" altLang="en-US" sz="1600" dirty="0">
                <a:latin typeface="+mn-ea"/>
                <a:cs typeface="Arial" pitchFamily="34" charset="0"/>
              </a:rPr>
              <a:t>간 </a:t>
            </a:r>
            <a:r>
              <a:rPr lang="ko-KR" altLang="en-US" sz="1600" dirty="0" err="1">
                <a:latin typeface="+mn-ea"/>
                <a:cs typeface="Arial" pitchFamily="34" charset="0"/>
              </a:rPr>
              <a:t>메트릭</a:t>
            </a:r>
            <a:r>
              <a:rPr lang="ko-KR" altLang="en-US" sz="1600" dirty="0">
                <a:latin typeface="+mn-ea"/>
                <a:cs typeface="Arial" pitchFamily="34" charset="0"/>
              </a:rPr>
              <a:t> 체크를 통해 부하도를 측정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ko-KR" dirty="0">
              <a:latin typeface="+mn-ea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en-US" altLang="ko-KR" dirty="0">
                <a:latin typeface="+mn-ea"/>
                <a:cs typeface="Arial" pitchFamily="34" charset="0"/>
              </a:rPr>
              <a:t>5. </a:t>
            </a:r>
            <a:r>
              <a:rPr lang="ko-KR" altLang="en-US" dirty="0">
                <a:latin typeface="+mn-ea"/>
                <a:cs typeface="Arial" pitchFamily="34" charset="0"/>
              </a:rPr>
              <a:t>추가적인 고려사항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장애 대응 및 복구 전략</a:t>
            </a:r>
            <a:r>
              <a:rPr lang="en-US" altLang="ko-KR" sz="1600" dirty="0">
                <a:latin typeface="+mn-ea"/>
                <a:cs typeface="Arial" pitchFamily="34" charset="0"/>
              </a:rPr>
              <a:t>: </a:t>
            </a:r>
            <a:r>
              <a:rPr lang="ko-KR" altLang="en-US" sz="1600" dirty="0">
                <a:latin typeface="+mn-ea"/>
                <a:cs typeface="Arial" pitchFamily="34" charset="0"/>
              </a:rPr>
              <a:t>네트워크 문제 등에 대응한 대응 전략을 수립하고</a:t>
            </a:r>
            <a:r>
              <a:rPr lang="en-US" altLang="ko-KR" sz="1600" dirty="0">
                <a:latin typeface="+mn-ea"/>
                <a:cs typeface="Arial" pitchFamily="34" charset="0"/>
              </a:rPr>
              <a:t>, </a:t>
            </a:r>
            <a:r>
              <a:rPr lang="ko-KR" altLang="en-US" sz="1600" dirty="0">
                <a:latin typeface="+mn-ea"/>
                <a:cs typeface="Arial" pitchFamily="34" charset="0"/>
              </a:rPr>
              <a:t>복구 절차를 명확히 기술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>
              <a:lnSpc>
                <a:spcPct val="90000"/>
              </a:lnSpc>
            </a:pPr>
            <a:endParaRPr lang="en-US" altLang="ko-KR" sz="1200" dirty="0">
              <a:latin typeface="+mn-ea"/>
              <a:cs typeface="Arial" pitchFamily="34" charset="0"/>
            </a:endParaRP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성능 최적화</a:t>
            </a:r>
            <a:r>
              <a:rPr lang="en-US" altLang="ko-KR" sz="1600" dirty="0">
                <a:latin typeface="+mn-ea"/>
                <a:cs typeface="Arial" pitchFamily="34" charset="0"/>
              </a:rPr>
              <a:t>: </a:t>
            </a:r>
            <a:r>
              <a:rPr lang="ko-KR" altLang="en-US" sz="1600" dirty="0">
                <a:latin typeface="+mn-ea"/>
                <a:cs typeface="Arial" pitchFamily="34" charset="0"/>
              </a:rPr>
              <a:t>데이터베이스 쿼리 최적화</a:t>
            </a:r>
            <a:r>
              <a:rPr lang="en-US" altLang="ko-KR" sz="1600" dirty="0">
                <a:latin typeface="+mn-ea"/>
                <a:cs typeface="Arial" pitchFamily="34" charset="0"/>
              </a:rPr>
              <a:t>, </a:t>
            </a:r>
            <a:r>
              <a:rPr lang="ko-KR" altLang="en-US" sz="1600" dirty="0">
                <a:latin typeface="+mn-ea"/>
                <a:cs typeface="Arial" pitchFamily="34" charset="0"/>
              </a:rPr>
              <a:t>커넥션 풀 라이브러리를 활용하여 효율적인 커넥션 관리를 수행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ko-KR" sz="1200" dirty="0">
              <a:latin typeface="+mn-ea"/>
              <a:cs typeface="Arial" pitchFamily="34" charset="0"/>
            </a:endParaRP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사용자 알림 및 로깅</a:t>
            </a:r>
            <a:r>
              <a:rPr lang="en-US" altLang="ko-KR" sz="1600" dirty="0">
                <a:latin typeface="+mn-ea"/>
                <a:cs typeface="Arial" pitchFamily="34" charset="0"/>
              </a:rPr>
              <a:t>: </a:t>
            </a:r>
            <a:r>
              <a:rPr lang="ko-KR" altLang="en-US" sz="1600" dirty="0">
                <a:latin typeface="+mn-ea"/>
                <a:cs typeface="Arial" pitchFamily="34" charset="0"/>
              </a:rPr>
              <a:t>사용자에게 작업 상태에 대한 알림을 제공하고</a:t>
            </a:r>
            <a:r>
              <a:rPr lang="en-US" altLang="ko-KR" sz="1600" dirty="0">
                <a:latin typeface="+mn-ea"/>
                <a:cs typeface="Arial" pitchFamily="34" charset="0"/>
              </a:rPr>
              <a:t>, </a:t>
            </a:r>
            <a:r>
              <a:rPr lang="ko-KR" altLang="en-US" sz="1600" dirty="0">
                <a:latin typeface="+mn-ea"/>
                <a:cs typeface="Arial" pitchFamily="34" charset="0"/>
              </a:rPr>
              <a:t>로깅 시스템을 구축하여 작업의 상태를 상세히 기록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ko-KR" sz="1200" dirty="0">
              <a:latin typeface="+mn-ea"/>
              <a:cs typeface="Arial" pitchFamily="34" charset="0"/>
            </a:endParaRP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ko-KR" altLang="en-US" sz="1600" dirty="0">
                <a:latin typeface="+mn-ea"/>
                <a:cs typeface="Arial" pitchFamily="34" charset="0"/>
              </a:rPr>
              <a:t>성능 측정 및 테스트</a:t>
            </a:r>
            <a:r>
              <a:rPr lang="en-US" altLang="ko-KR" sz="1600" dirty="0">
                <a:latin typeface="+mn-ea"/>
                <a:cs typeface="Arial" pitchFamily="34" charset="0"/>
              </a:rPr>
              <a:t>: </a:t>
            </a:r>
            <a:r>
              <a:rPr lang="ko-KR" altLang="en-US" sz="1600" dirty="0" err="1">
                <a:latin typeface="+mn-ea"/>
                <a:cs typeface="Arial" pitchFamily="34" charset="0"/>
              </a:rPr>
              <a:t>메트릭</a:t>
            </a:r>
            <a:r>
              <a:rPr lang="ko-KR" altLang="en-US" sz="1600" dirty="0">
                <a:latin typeface="+mn-ea"/>
                <a:cs typeface="Arial" pitchFamily="34" charset="0"/>
              </a:rPr>
              <a:t> 수집을 통한 성능 모니터링 및 부하 테스트를 통해 어플리케이션의 성능을 확인하고 최적화합니다</a:t>
            </a:r>
            <a:r>
              <a:rPr lang="en-US" altLang="ko-KR" sz="1600" dirty="0">
                <a:latin typeface="+mn-ea"/>
                <a:cs typeface="Arial" pitchFamily="34" charset="0"/>
              </a:rPr>
              <a:t>.</a:t>
            </a:r>
            <a:endParaRPr lang="ko-KR" altLang="en-US" sz="1600" dirty="0">
              <a:latin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338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1. </a:t>
            </a:r>
            <a:r>
              <a:rPr lang="ko-KR" altLang="en-US" dirty="0"/>
              <a:t>프로젝트 스펙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C06E567-EA22-21A7-69BE-9449462EA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1"/>
            <a:ext cx="9143468" cy="24974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800" b="1" dirty="0"/>
              <a:t>프로젝트 스펙</a:t>
            </a: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3F1CA4C8-EABB-6B8D-39E5-9DC057CE4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496873"/>
              </p:ext>
            </p:extLst>
          </p:nvPr>
        </p:nvGraphicFramePr>
        <p:xfrm>
          <a:off x="1651000" y="1807088"/>
          <a:ext cx="6604000" cy="3479673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3302000">
                  <a:extLst>
                    <a:ext uri="{9D8B030D-6E8A-4147-A177-3AD203B41FA5}">
                      <a16:colId xmlns:a16="http://schemas.microsoft.com/office/drawing/2014/main" val="431197477"/>
                    </a:ext>
                  </a:extLst>
                </a:gridCol>
                <a:gridCol w="3302000">
                  <a:extLst>
                    <a:ext uri="{9D8B030D-6E8A-4147-A177-3AD203B41FA5}">
                      <a16:colId xmlns:a16="http://schemas.microsoft.com/office/drawing/2014/main" val="9284706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기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버전</a:t>
                      </a:r>
                      <a:r>
                        <a:rPr lang="en-US" altLang="ko-KR" dirty="0"/>
                        <a:t>/</a:t>
                      </a:r>
                      <a:r>
                        <a:rPr lang="ko-KR" altLang="en-US" dirty="0"/>
                        <a:t>도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50553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개발언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Java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564496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빌드 도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Gradle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5331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데이터베이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MySQL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636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프레임워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Spring Boot 2.7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9686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JDK </a:t>
                      </a:r>
                      <a:r>
                        <a:rPr lang="ko-KR" altLang="en-US" dirty="0"/>
                        <a:t>버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11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943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ORM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/>
                        <a:t>Spring Data JPA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76660167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데이터베이스 액세스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err="1"/>
                        <a:t>MyBatis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01483874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프로젝트 </a:t>
                      </a:r>
                      <a:r>
                        <a:rPr lang="en-US" altLang="ko-KR" dirty="0"/>
                        <a:t>repository </a:t>
                      </a:r>
                      <a:r>
                        <a:rPr lang="ko-KR" altLang="en-US" dirty="0"/>
                        <a:t>주소</a:t>
                      </a:r>
                      <a:r>
                        <a:rPr lang="en-US" altLang="ko-KR" dirty="0"/>
                        <a:t>(</a:t>
                      </a:r>
                      <a:r>
                        <a:rPr lang="ko-KR" altLang="en-US" dirty="0"/>
                        <a:t>참고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hlinkClick r:id="rId2"/>
                        </a:rPr>
                        <a:t>https://github.com/mtcdevops/KBHC-SpringBoot-PostGRE.git</a:t>
                      </a:r>
                      <a:endParaRPr lang="ko-KR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3104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9025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2. </a:t>
            </a:r>
            <a:r>
              <a:rPr lang="ko-KR" altLang="en-US" dirty="0"/>
              <a:t>의존성 추가</a:t>
            </a:r>
          </a:p>
        </p:txBody>
      </p:sp>
      <p:sp>
        <p:nvSpPr>
          <p:cNvPr id="2" name="텍스트 개체 틀 3">
            <a:extLst>
              <a:ext uri="{FF2B5EF4-FFF2-40B4-BE49-F238E27FC236}">
                <a16:creationId xmlns:a16="http://schemas.microsoft.com/office/drawing/2014/main" id="{2A64D4E1-1E30-34D1-60F1-71853472F1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1"/>
            <a:ext cx="9143468" cy="27744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 err="1"/>
              <a:t>Build.</a:t>
            </a:r>
            <a:r>
              <a:rPr lang="en-US" altLang="ko-KR" sz="2000" b="1" dirty="0" err="1"/>
              <a:t>gradle</a:t>
            </a:r>
            <a:r>
              <a:rPr lang="en-US" altLang="ko-KR" sz="1800" b="1" dirty="0"/>
              <a:t> </a:t>
            </a:r>
            <a:r>
              <a:rPr lang="ko-KR" altLang="en-US" sz="1800" b="1" dirty="0"/>
              <a:t>설정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318A98-A5AB-2E81-9820-1250B3E12B7E}"/>
              </a:ext>
            </a:extLst>
          </p:cNvPr>
          <p:cNvSpPr txBox="1"/>
          <p:nvPr/>
        </p:nvSpPr>
        <p:spPr>
          <a:xfrm>
            <a:off x="461727" y="1267484"/>
            <a:ext cx="8926717" cy="5069941"/>
          </a:xfrm>
          <a:prstGeom prst="rect">
            <a:avLst/>
          </a:prstGeom>
          <a:solidFill>
            <a:schemeClr val="tx1"/>
          </a:solidFill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8DCBE2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ependencies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{</a:t>
            </a: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springframework.boot:spring-boot-starter-validation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springframework.boot:spring-boot-starter-web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org.mybatis.spring.boot:mybatis-spring-boot-starter:3.0.2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compileOnly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projectlombok:lombok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untimeOnly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postgresql:postgresql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annotationProcessor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projectlombok:lombok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est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springframework.boot:spring-boot-starter-test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est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org.mybatis.spring.boot:mybatis-spring-boot-starter-test:3.0.2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https://mvnrepository.com/artifact/org.postgresql/postgresql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roup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postgresql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postgresql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ers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42.6.0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https://mvnrepository.com/artifact/org.bgee.log4jdbc-log4j2/log4jdbc-log4j2-jdbc4.1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group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org.bgee.log4jdbc-log4j2'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name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log4jdbc-log4j2-jdbc4.1'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 </a:t>
            </a:r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vers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1.16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b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JUnit5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est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org.junit.platform:junit-platform-launcher:1.5.2"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 </a:t>
            </a:r>
          </a:p>
          <a:p>
            <a:pPr lvl="1"/>
            <a:r>
              <a:rPr lang="en-US" altLang="ko-KR" sz="1200" b="1" dirty="0" err="1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est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(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org.junit.jupiter:junit-jupiter:5.5.2"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)</a:t>
            </a:r>
          </a:p>
          <a:p>
            <a:pPr lvl="1"/>
            <a:b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</a:b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en-US" altLang="ko-KR" sz="1200" b="1" dirty="0" err="1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Qeury</a:t>
            </a:r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Log </a:t>
            </a:r>
            <a:r>
              <a:rPr lang="ko-KR" altLang="en-US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설정</a:t>
            </a:r>
            <a:endParaRPr lang="ko-KR" altLang="en-US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"org.bgee.log4jdbc-log4j2:log4jdbc-log4j2-jdbc4:1.16"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Json </a:t>
            </a:r>
            <a:r>
              <a:rPr lang="ko-KR" altLang="en-US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타입 설정</a:t>
            </a:r>
            <a:endParaRPr lang="ko-KR" altLang="en-US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com.fasterxml.jackson.core:jackson-databind:2.13.0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/ </a:t>
            </a:r>
            <a:r>
              <a:rPr lang="ko-KR" altLang="en-US" sz="1200" b="1" dirty="0">
                <a:solidFill>
                  <a:srgbClr val="C7DD0C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화면 자동 반영</a:t>
            </a:r>
            <a:endParaRPr lang="ko-KR" altLang="en-US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lvl="1"/>
            <a:r>
              <a:rPr lang="en-US" altLang="ko-KR" sz="1200" b="1" dirty="0">
                <a:solidFill>
                  <a:srgbClr val="D8D8D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implementation</a:t>
            </a: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r>
              <a:rPr lang="en-US" altLang="ko-KR" sz="1200" b="1" dirty="0" err="1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springframework.boot:spring-boot-devtools</a:t>
            </a:r>
            <a:r>
              <a:rPr lang="en-US" altLang="ko-KR" sz="1200" b="1" dirty="0">
                <a:solidFill>
                  <a:srgbClr val="FFC600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'</a:t>
            </a:r>
            <a:endParaRPr lang="en-US" altLang="ko-KR" sz="12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2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776360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3. </a:t>
            </a:r>
            <a:r>
              <a:rPr lang="en-US" altLang="ko-KR" dirty="0" err="1"/>
              <a:t>applicatiton.yml</a:t>
            </a:r>
            <a:endParaRPr lang="ko-KR" altLang="en-US" dirty="0"/>
          </a:p>
        </p:txBody>
      </p:sp>
      <p:sp>
        <p:nvSpPr>
          <p:cNvPr id="7" name="텍스트 개체 틀 3">
            <a:extLst>
              <a:ext uri="{FF2B5EF4-FFF2-40B4-BE49-F238E27FC236}">
                <a16:creationId xmlns:a16="http://schemas.microsoft.com/office/drawing/2014/main" id="{8803DA2B-6168-A089-DA20-58C1A61F47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1"/>
            <a:ext cx="9143468" cy="27699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2000" b="0" i="0" dirty="0">
                <a:effectLst/>
              </a:rPr>
              <a:t>1. </a:t>
            </a:r>
            <a:r>
              <a:rPr lang="en-US" altLang="ko-KR" sz="2000" b="0" i="0" dirty="0" err="1">
                <a:effectLst/>
              </a:rPr>
              <a:t>SpringBoot</a:t>
            </a:r>
            <a:r>
              <a:rPr lang="en-US" altLang="ko-KR" sz="2000" b="0" i="0" dirty="0">
                <a:effectLst/>
              </a:rPr>
              <a:t> PostgreSQL </a:t>
            </a:r>
            <a:r>
              <a:rPr lang="en-US" altLang="ko-KR" sz="2000" b="0" i="0" dirty="0" err="1">
                <a:effectLst/>
              </a:rPr>
              <a:t>Datasource</a:t>
            </a:r>
            <a:r>
              <a:rPr lang="en-US" altLang="ko-KR" sz="2000" b="0" i="0" dirty="0">
                <a:effectLst/>
              </a:rPr>
              <a:t> Configuration</a:t>
            </a:r>
            <a:endParaRPr lang="ko-KR" altLang="en-US" sz="18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F9A569-4AEB-4656-DECF-E63E50B0491F}"/>
              </a:ext>
            </a:extLst>
          </p:cNvPr>
          <p:cNvSpPr txBox="1"/>
          <p:nvPr/>
        </p:nvSpPr>
        <p:spPr>
          <a:xfrm>
            <a:off x="461727" y="1267485"/>
            <a:ext cx="8926717" cy="4527388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pring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# MySQL DB </a:t>
            </a:r>
            <a:r>
              <a:rPr lang="ko-KR" altLang="en-US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설정</a:t>
            </a:r>
            <a:endParaRPr lang="ko-KR" altLang="en-US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</a:t>
            </a:r>
            <a:r>
              <a:rPr lang="en-US" altLang="ko-KR" sz="1600" b="1" dirty="0" err="1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datasourc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# </a:t>
            </a:r>
            <a:r>
              <a:rPr lang="en-US" altLang="ko-KR" sz="1600" b="1" dirty="0" err="1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sd</a:t>
            </a: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replica </a:t>
            </a:r>
            <a:r>
              <a:rPr lang="ko-KR" altLang="en-US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구성</a:t>
            </a:r>
            <a:endParaRPr lang="ko-KR" altLang="en-US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</a:t>
            </a:r>
            <a:r>
              <a:rPr lang="en-US" altLang="ko-KR" sz="1600" b="1" u="sng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master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# Write(Insert, Update, Delete)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driver-class-nam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 err="1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postgresql.Driver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</a:t>
            </a:r>
            <a:r>
              <a:rPr lang="en-US" altLang="ko-KR" sz="1600" b="1" dirty="0" err="1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dbc-url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dbc:postgresq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//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lt;</a:t>
            </a:r>
            <a:r>
              <a:rPr lang="en-US" altLang="ko-KR" sz="1400" b="1" dirty="0">
                <a:solidFill>
                  <a:srgbClr val="CE9178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master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db</a:t>
            </a:r>
            <a:r>
              <a:rPr lang="ko-KR" altLang="en-US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r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:&lt;port&gt;/&lt;database&gt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read-only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false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usernam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ko-KR" altLang="en-US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사용자 계정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password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ko-KR" altLang="en-US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비밀번호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</a:t>
            </a:r>
            <a:r>
              <a:rPr lang="en-US" altLang="ko-KR" sz="1600" b="1" u="sng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slav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# Read(Select)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driver-class-nam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 err="1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org.postgresql.Driver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</a:t>
            </a:r>
            <a:r>
              <a:rPr lang="en-US" altLang="ko-KR" sz="1600" b="1" dirty="0" err="1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dbc-url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jdbc:postgresq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//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lt;slave1 </a:t>
            </a:r>
            <a:r>
              <a:rPr lang="en-US" altLang="ko-KR" sz="1400" b="1" dirty="0" err="1">
                <a:solidFill>
                  <a:srgbClr val="CE9178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db</a:t>
            </a:r>
            <a:r>
              <a:rPr lang="ko-KR" altLang="en-US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r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:&lt;port&gt;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,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&lt;slave1 </a:t>
            </a:r>
            <a:r>
              <a:rPr lang="en-US" altLang="ko-KR" sz="1400" b="1" dirty="0" err="1">
                <a:solidFill>
                  <a:srgbClr val="CE9178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db</a:t>
            </a:r>
            <a:r>
              <a:rPr lang="ko-KR" altLang="en-US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r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:&lt;port&gt;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/&lt;database&gt;</a:t>
            </a:r>
            <a:endParaRPr lang="en-US" altLang="ko-KR" sz="14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read-only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tru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</a:t>
            </a: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# Slave DB</a:t>
            </a:r>
            <a:r>
              <a:rPr lang="ko-KR" altLang="en-US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는 </a:t>
            </a:r>
            <a:r>
              <a:rPr lang="en-US" altLang="ko-KR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Read</a:t>
            </a:r>
            <a:r>
              <a:rPr lang="ko-KR" altLang="en-US" sz="1600" b="1" dirty="0">
                <a:solidFill>
                  <a:srgbClr val="608B4E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만</a:t>
            </a:r>
            <a:endParaRPr lang="ko-KR" altLang="en-US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username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ko-KR" altLang="en-US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사용자 계정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600" b="1" dirty="0">
                <a:solidFill>
                  <a:srgbClr val="569CD6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      password</a:t>
            </a:r>
            <a:r>
              <a:rPr lang="en-US" altLang="ko-KR" sz="1600" b="1" dirty="0">
                <a:solidFill>
                  <a:srgbClr val="C7CDD1"/>
                </a:solidFill>
                <a:effectLst/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: 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lt;</a:t>
            </a:r>
            <a:r>
              <a:rPr lang="ko-KR" altLang="en-US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비밀번호</a:t>
            </a:r>
            <a:r>
              <a:rPr lang="en-US" altLang="ko-KR" sz="1600" b="1" dirty="0">
                <a:solidFill>
                  <a:srgbClr val="CE9178"/>
                </a:solidFill>
                <a:latin typeface="KB금융 본문체 Medium" panose="020B0603000000000000" pitchFamily="50" charset="-127"/>
                <a:ea typeface="KB금융 본문체 Medium" panose="020B0603000000000000" pitchFamily="50" charset="-127"/>
              </a:rPr>
              <a:t>&gt;</a:t>
            </a: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600" b="1" dirty="0">
              <a:solidFill>
                <a:srgbClr val="C7CDD1"/>
              </a:solidFill>
              <a:effectLst/>
              <a:latin typeface="KB금융 본문체 Medium" panose="020B0603000000000000" pitchFamily="50" charset="-127"/>
              <a:ea typeface="KB금융 본문체 Medium" panose="020B06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99870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3. </a:t>
            </a:r>
            <a:r>
              <a:rPr lang="en-US" altLang="ko-KR" dirty="0" err="1"/>
              <a:t>applicatiton.yml</a:t>
            </a:r>
            <a:endParaRPr lang="ko-KR" altLang="en-US" dirty="0"/>
          </a:p>
        </p:txBody>
      </p:sp>
      <p:sp>
        <p:nvSpPr>
          <p:cNvPr id="7" name="텍스트 개체 틀 3">
            <a:extLst>
              <a:ext uri="{FF2B5EF4-FFF2-40B4-BE49-F238E27FC236}">
                <a16:creationId xmlns:a16="http://schemas.microsoft.com/office/drawing/2014/main" id="{8803DA2B-6168-A089-DA20-58C1A61F47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1"/>
            <a:ext cx="9143468" cy="27699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2000" dirty="0">
                <a:latin typeface="+mj-lt"/>
              </a:rPr>
              <a:t>2</a:t>
            </a:r>
            <a:r>
              <a:rPr lang="en-US" altLang="ko-KR" sz="2000" b="0" i="0" dirty="0">
                <a:effectLst/>
                <a:latin typeface="+mj-lt"/>
              </a:rPr>
              <a:t>. </a:t>
            </a:r>
            <a:r>
              <a:rPr lang="ko-KR" altLang="en-US" sz="2000" dirty="0">
                <a:latin typeface="+mj-lt"/>
              </a:rPr>
              <a:t>마스터 </a:t>
            </a:r>
            <a:r>
              <a:rPr lang="ko-KR" altLang="en-US" sz="2000" dirty="0" err="1">
                <a:latin typeface="+mj-lt"/>
              </a:rPr>
              <a:t>슬레이브</a:t>
            </a:r>
            <a:r>
              <a:rPr lang="ko-KR" altLang="en-US" sz="2000" dirty="0">
                <a:latin typeface="+mj-lt"/>
              </a:rPr>
              <a:t> 아키텍처 설명</a:t>
            </a:r>
            <a:endParaRPr lang="ko-KR" altLang="en-US" sz="1800" b="1" dirty="0"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EAC80F-1705-73B3-4863-98B175D83440}"/>
              </a:ext>
            </a:extLst>
          </p:cNvPr>
          <p:cNvSpPr txBox="1"/>
          <p:nvPr/>
        </p:nvSpPr>
        <p:spPr>
          <a:xfrm>
            <a:off x="461727" y="1267485"/>
            <a:ext cx="8926717" cy="1421176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master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>
                <a:solidFill>
                  <a:srgbClr val="608B4E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# Master Configuration</a:t>
            </a: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driver-class-name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org.postgresql.Driver</a:t>
            </a: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</a:t>
            </a:r>
            <a:r>
              <a:rPr lang="en-US" altLang="ko-KR" sz="1400" b="1" dirty="0" err="1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jdbc-url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jdbc:</a:t>
            </a:r>
            <a:r>
              <a:rPr lang="en-US" altLang="ko-KR" sz="1400" b="1" dirty="0" err="1">
                <a:solidFill>
                  <a:schemeClr val="accent2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postgresq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//&lt;master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db</a:t>
            </a:r>
            <a:r>
              <a:rPr lang="ko-KR" altLang="en-US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r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:&lt;port&gt;/&lt;database&gt;</a:t>
            </a:r>
            <a:endParaRPr lang="en-US" altLang="ko-KR" sz="1400" b="1" dirty="0">
              <a:solidFill>
                <a:srgbClr val="CE9178"/>
              </a:solidFill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</a:t>
            </a: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read-only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fals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username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lt;</a:t>
            </a:r>
            <a:r>
              <a:rPr lang="ko-KR" altLang="en-US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사용자계정</a:t>
            </a:r>
            <a:r>
              <a:rPr lang="en-US" altLang="ko-KR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password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>
                <a:solidFill>
                  <a:schemeClr val="bg1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&lt;</a:t>
            </a:r>
            <a:r>
              <a:rPr lang="ko-KR" altLang="en-US" sz="1400" b="1" dirty="0">
                <a:solidFill>
                  <a:schemeClr val="bg1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비밀번호</a:t>
            </a:r>
            <a:r>
              <a:rPr lang="en-US" altLang="ko-KR" sz="1400" b="1" dirty="0">
                <a:solidFill>
                  <a:schemeClr val="bg1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&gt;</a:t>
            </a:r>
            <a:endParaRPr lang="en-US" altLang="ko-KR" sz="1400" b="1" dirty="0">
              <a:solidFill>
                <a:schemeClr val="bg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8C4E6-1D0D-28D3-B338-26884B712614}"/>
              </a:ext>
            </a:extLst>
          </p:cNvPr>
          <p:cNvSpPr txBox="1"/>
          <p:nvPr/>
        </p:nvSpPr>
        <p:spPr>
          <a:xfrm>
            <a:off x="461727" y="2971437"/>
            <a:ext cx="8901629" cy="261907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Explanation:</a:t>
            </a:r>
            <a:endParaRPr lang="ko-KR" altLang="en-US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Driver Class Name:</a:t>
            </a:r>
            <a:r>
              <a:rPr lang="ko-KR" altLang="en-US" sz="1600" b="0" i="0" dirty="0">
                <a:effectLst/>
                <a:latin typeface="+mn-ea"/>
              </a:rPr>
              <a:t> </a:t>
            </a:r>
            <a:r>
              <a:rPr lang="en-US" altLang="ko-KR" sz="1600" b="0" i="0" dirty="0">
                <a:effectLst/>
                <a:latin typeface="+mn-ea"/>
              </a:rPr>
              <a:t>JDBC </a:t>
            </a:r>
            <a:r>
              <a:rPr lang="ko-KR" altLang="en-US" sz="1600" b="0" i="0" dirty="0">
                <a:effectLst/>
                <a:latin typeface="+mn-ea"/>
              </a:rPr>
              <a:t>드라이버 클래스는 </a:t>
            </a:r>
            <a:r>
              <a:rPr lang="en-US" altLang="ko-KR" sz="1600" b="0" i="0" dirty="0">
                <a:effectLst/>
                <a:latin typeface="+mn-ea"/>
              </a:rPr>
              <a:t>PostgreSQL </a:t>
            </a:r>
            <a:r>
              <a:rPr lang="ko-KR" altLang="en-US" sz="1600" b="0" i="0" dirty="0">
                <a:effectLst/>
                <a:latin typeface="+mn-ea"/>
              </a:rPr>
              <a:t>데이터베이스에 연결할 때 사용되는 클래스입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JDBC URL:</a:t>
            </a:r>
            <a:r>
              <a:rPr lang="ko-KR" altLang="en-US" sz="1600" b="0" i="0" dirty="0">
                <a:effectLst/>
                <a:latin typeface="+mn-ea"/>
              </a:rPr>
              <a:t> 마스터 데이터베이스에 연결하는 데 사용되는 </a:t>
            </a:r>
            <a:r>
              <a:rPr lang="en-US" altLang="ko-KR" sz="1600" b="0" i="0" dirty="0">
                <a:effectLst/>
                <a:latin typeface="+mn-ea"/>
              </a:rPr>
              <a:t>URL</a:t>
            </a:r>
            <a:r>
              <a:rPr lang="ko-KR" altLang="en-US" sz="1600" b="0" i="0" dirty="0">
                <a:effectLst/>
                <a:latin typeface="+mn-ea"/>
              </a:rPr>
              <a:t>입니다</a:t>
            </a:r>
            <a:r>
              <a:rPr lang="en-US" altLang="ko-KR" sz="1600" b="0" i="0" dirty="0">
                <a:effectLst/>
                <a:latin typeface="+mn-ea"/>
              </a:rPr>
              <a:t>. </a:t>
            </a:r>
            <a:r>
              <a:rPr lang="en-US" altLang="ko-KR" sz="1600" b="0" i="0" dirty="0" err="1">
                <a:effectLst/>
                <a:latin typeface="+mn-ea"/>
              </a:rPr>
              <a:t>Timezone</a:t>
            </a:r>
            <a:r>
              <a:rPr lang="ko-KR" altLang="en-US" sz="1600" b="0" i="0" dirty="0">
                <a:effectLst/>
                <a:latin typeface="+mn-ea"/>
              </a:rPr>
              <a:t>은 </a:t>
            </a:r>
            <a:r>
              <a:rPr lang="en-US" altLang="ko-KR" sz="1600" b="0" i="0" dirty="0">
                <a:effectLst/>
                <a:latin typeface="+mn-ea"/>
              </a:rPr>
              <a:t>UTC</a:t>
            </a:r>
            <a:r>
              <a:rPr lang="ko-KR" altLang="en-US" sz="1600" b="0" i="0" dirty="0">
                <a:effectLst/>
                <a:latin typeface="+mn-ea"/>
              </a:rPr>
              <a:t>로 설정되어 있습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Read-Only:</a:t>
            </a:r>
            <a:r>
              <a:rPr lang="ko-KR" altLang="en-US" sz="1600" b="0" i="0" dirty="0">
                <a:effectLst/>
                <a:latin typeface="+mn-ea"/>
              </a:rPr>
              <a:t> 마스터 데이터베이스는 쓰기 가능한 모드로 설정되어 있습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Username &amp; Password:</a:t>
            </a:r>
            <a:r>
              <a:rPr lang="ko-KR" altLang="en-US" sz="1600" b="0" i="0" dirty="0">
                <a:effectLst/>
                <a:latin typeface="+mn-ea"/>
              </a:rPr>
              <a:t> 데이터베이스에 연결하기 위한 사용자 계정과 비밀번호입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ko-KR" sz="1200" b="0" i="0" dirty="0">
              <a:effectLst/>
              <a:latin typeface="+mn-ea"/>
            </a:endParaRP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ko-KR" altLang="en-US" sz="1200" dirty="0">
              <a:latin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253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3. </a:t>
            </a:r>
            <a:r>
              <a:rPr lang="en-US" altLang="ko-KR" dirty="0" err="1"/>
              <a:t>applicatiton.yml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AA1EB5-5988-7435-1935-ADFEABC77D23}"/>
              </a:ext>
            </a:extLst>
          </p:cNvPr>
          <p:cNvSpPr txBox="1"/>
          <p:nvPr/>
        </p:nvSpPr>
        <p:spPr>
          <a:xfrm>
            <a:off x="461727" y="2925137"/>
            <a:ext cx="8901629" cy="2883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Explanation:</a:t>
            </a:r>
            <a:endParaRPr lang="ko-KR" altLang="en-US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Driver Class Name:</a:t>
            </a:r>
            <a:r>
              <a:rPr lang="ko-KR" altLang="en-US" sz="1600" b="0" i="0" dirty="0">
                <a:effectLst/>
                <a:latin typeface="+mn-ea"/>
              </a:rPr>
              <a:t> </a:t>
            </a:r>
            <a:r>
              <a:rPr lang="en-US" altLang="ko-KR" sz="1600" b="0" i="0" dirty="0">
                <a:effectLst/>
                <a:latin typeface="+mn-ea"/>
              </a:rPr>
              <a:t>PostgreSQL </a:t>
            </a:r>
            <a:r>
              <a:rPr lang="ko-KR" altLang="en-US" sz="1600" b="0" i="0" dirty="0">
                <a:effectLst/>
                <a:latin typeface="+mn-ea"/>
              </a:rPr>
              <a:t>데이터베이스에 연결하기 위한 </a:t>
            </a:r>
            <a:r>
              <a:rPr lang="en-US" altLang="ko-KR" sz="1600" b="0" i="0" dirty="0">
                <a:effectLst/>
                <a:latin typeface="+mn-ea"/>
              </a:rPr>
              <a:t>JDBC </a:t>
            </a:r>
            <a:r>
              <a:rPr lang="ko-KR" altLang="en-US" sz="1600" b="0" i="0" dirty="0">
                <a:effectLst/>
                <a:latin typeface="+mn-ea"/>
              </a:rPr>
              <a:t>드라이버 클래스입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JDBC URL:</a:t>
            </a:r>
            <a:r>
              <a:rPr lang="ko-KR" altLang="en-US" sz="1600" b="0" i="0" dirty="0">
                <a:effectLst/>
                <a:latin typeface="+mn-ea"/>
              </a:rPr>
              <a:t> 여러 </a:t>
            </a:r>
            <a:r>
              <a:rPr lang="ko-KR" altLang="en-US" sz="1600" b="0" i="0" dirty="0" err="1">
                <a:effectLst/>
                <a:latin typeface="+mn-ea"/>
              </a:rPr>
              <a:t>슬레이브</a:t>
            </a:r>
            <a:r>
              <a:rPr lang="ko-KR" altLang="en-US" sz="1600" b="0" i="0" dirty="0">
                <a:effectLst/>
                <a:latin typeface="+mn-ea"/>
              </a:rPr>
              <a:t> 데이터베이스에 연결하는 데 사용되는 </a:t>
            </a:r>
            <a:r>
              <a:rPr lang="en-US" altLang="ko-KR" sz="1600" b="0" i="0" dirty="0">
                <a:effectLst/>
                <a:latin typeface="+mn-ea"/>
              </a:rPr>
              <a:t>URL</a:t>
            </a:r>
            <a:r>
              <a:rPr lang="ko-KR" altLang="en-US" sz="1600" b="0" i="0" dirty="0">
                <a:effectLst/>
                <a:latin typeface="+mn-ea"/>
              </a:rPr>
              <a:t>입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Read-Only:</a:t>
            </a:r>
            <a:r>
              <a:rPr lang="ko-KR" altLang="en-US" sz="1600" b="0" i="0" dirty="0">
                <a:effectLst/>
                <a:latin typeface="+mn-ea"/>
              </a:rPr>
              <a:t> </a:t>
            </a:r>
            <a:r>
              <a:rPr lang="ko-KR" altLang="en-US" sz="1600" dirty="0" err="1">
                <a:latin typeface="+mn-ea"/>
              </a:rPr>
              <a:t>슬레이브</a:t>
            </a:r>
            <a:r>
              <a:rPr lang="ko-KR" altLang="en-US" sz="1600" b="0" i="0" dirty="0">
                <a:effectLst/>
                <a:latin typeface="+mn-ea"/>
              </a:rPr>
              <a:t> 데이터베이스는 읽기 전용 모드로 설정되어 있습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ko-KR" sz="1600" b="1" i="0" dirty="0">
                <a:effectLst/>
                <a:latin typeface="+mn-ea"/>
              </a:rPr>
              <a:t>Username &amp; Password:</a:t>
            </a:r>
            <a:r>
              <a:rPr lang="ko-KR" altLang="en-US" sz="1600" b="0" i="0" dirty="0">
                <a:effectLst/>
                <a:latin typeface="+mn-ea"/>
              </a:rPr>
              <a:t> </a:t>
            </a:r>
            <a:r>
              <a:rPr lang="ko-KR" altLang="en-US" sz="1600" b="0" i="0" dirty="0" err="1">
                <a:effectLst/>
                <a:latin typeface="+mn-ea"/>
              </a:rPr>
              <a:t>슬레이브</a:t>
            </a:r>
            <a:r>
              <a:rPr lang="ko-KR" altLang="en-US" sz="1600" b="0" i="0" dirty="0">
                <a:effectLst/>
                <a:latin typeface="+mn-ea"/>
              </a:rPr>
              <a:t> 데이터베이스에 연결하기 위한 사용자 계정과 비밀번호입니다</a:t>
            </a:r>
            <a:r>
              <a:rPr lang="en-US" altLang="ko-KR" sz="1600" b="0" i="0" dirty="0">
                <a:effectLst/>
                <a:latin typeface="+mn-ea"/>
              </a:rPr>
              <a:t>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ko-KR" sz="1600" b="0" i="0" dirty="0">
              <a:effectLst/>
              <a:latin typeface="+mn-ea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ko-KR" altLang="en-US" sz="1600" dirty="0">
              <a:latin typeface="+mn-ea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D90216-D3F4-05FC-9F7D-C8F51EFA323B}"/>
              </a:ext>
            </a:extLst>
          </p:cNvPr>
          <p:cNvSpPr txBox="1"/>
          <p:nvPr/>
        </p:nvSpPr>
        <p:spPr>
          <a:xfrm>
            <a:off x="461727" y="1267485"/>
            <a:ext cx="8926717" cy="1398597"/>
          </a:xfrm>
          <a:prstGeom prst="rect">
            <a:avLst/>
          </a:prstGeom>
          <a:solidFill>
            <a:schemeClr val="tx1"/>
          </a:solidFill>
          <a:ln w="6350" cap="flat">
            <a:solidFill>
              <a:schemeClr val="accent5">
                <a:lumMod val="75000"/>
              </a:schemeClr>
            </a:solidFill>
            <a:miter lim="800000"/>
          </a:ln>
        </p:spPr>
        <p:txBody>
          <a:bodyPr wrap="square" lIns="72000" tIns="36000" rIns="72000" bIns="36000" rtlCol="0" anchor="t" anchorCtr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slave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>
                <a:solidFill>
                  <a:srgbClr val="608B4E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# Slave Configuration</a:t>
            </a: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  driver-class-name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org.postgresql.Driver</a:t>
            </a: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  </a:t>
            </a:r>
            <a:r>
              <a:rPr lang="en-US" altLang="ko-KR" sz="1400" b="1" dirty="0" err="1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jdbc-url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jdbc:</a:t>
            </a:r>
            <a:r>
              <a:rPr lang="en-US" altLang="ko-KR" sz="1400" b="1" dirty="0" err="1">
                <a:solidFill>
                  <a:schemeClr val="accent2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postgresq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//&lt;slave1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db</a:t>
            </a:r>
            <a:r>
              <a:rPr lang="ko-KR" altLang="en-US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r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:&lt;port&gt;,&lt;slave2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db</a:t>
            </a:r>
            <a:r>
              <a:rPr lang="ko-KR" altLang="en-US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 err="1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rl</a:t>
            </a:r>
            <a:r>
              <a:rPr lang="en-US" altLang="ko-KR" sz="1400" b="1" dirty="0">
                <a:solidFill>
                  <a:srgbClr val="CE9178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:&lt;port&gt;/&lt;database&gt;</a:t>
            </a: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  read-only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 </a:t>
            </a: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true</a:t>
            </a:r>
            <a:endParaRPr lang="en-US" altLang="ko-KR" sz="1400" b="1" dirty="0">
              <a:solidFill>
                <a:srgbClr val="608B4E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608B4E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      </a:t>
            </a: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username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</a:t>
            </a:r>
            <a:r>
              <a:rPr lang="en-US" altLang="ko-KR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&lt;</a:t>
            </a:r>
            <a:r>
              <a:rPr lang="ko-KR" altLang="en-US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사용자계정</a:t>
            </a:r>
            <a:r>
              <a:rPr lang="en-US" altLang="ko-KR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&gt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dirty="0">
                <a:solidFill>
                  <a:srgbClr val="569CD6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     password</a:t>
            </a:r>
            <a:r>
              <a:rPr lang="en-US" altLang="ko-KR" sz="1400" b="1" dirty="0">
                <a:solidFill>
                  <a:srgbClr val="C7CDD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:</a:t>
            </a:r>
            <a:r>
              <a:rPr lang="en-US" altLang="ko-KR" sz="1400" b="1" dirty="0">
                <a:solidFill>
                  <a:schemeClr val="bg1"/>
                </a:solidFill>
                <a:effectLst/>
                <a:latin typeface="HY중고딕" panose="02030600000101010101" pitchFamily="18" charset="-127"/>
                <a:ea typeface="HY중고딕" panose="02030600000101010101" pitchFamily="18" charset="-127"/>
              </a:rPr>
              <a:t> </a:t>
            </a:r>
            <a:r>
              <a:rPr lang="en-US" altLang="ko-KR" sz="1400" b="1" dirty="0">
                <a:solidFill>
                  <a:schemeClr val="bg1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&lt;</a:t>
            </a:r>
            <a:r>
              <a:rPr lang="ko-KR" altLang="en-US" sz="1400" b="1" dirty="0">
                <a:solidFill>
                  <a:schemeClr val="bg1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비밀번호</a:t>
            </a:r>
            <a:r>
              <a:rPr lang="en-US" altLang="ko-KR" sz="1400" b="1" dirty="0">
                <a:solidFill>
                  <a:schemeClr val="bg1"/>
                </a:solidFill>
                <a:latin typeface="HY중고딕" panose="02030600000101010101" pitchFamily="18" charset="-127"/>
                <a:ea typeface="HY중고딕" panose="02030600000101010101" pitchFamily="18" charset="-127"/>
              </a:rPr>
              <a:t>&gt;</a:t>
            </a:r>
            <a:endParaRPr lang="en-US" altLang="ko-KR" sz="1400" b="1" dirty="0">
              <a:solidFill>
                <a:schemeClr val="bg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ko-KR" sz="1400" b="1" dirty="0">
              <a:solidFill>
                <a:srgbClr val="C7CDD1"/>
              </a:solidFill>
              <a:effectLst/>
              <a:latin typeface="HY중고딕" panose="02030600000101010101" pitchFamily="18" charset="-127"/>
              <a:ea typeface="HY중고딕" panose="02030600000101010101" pitchFamily="18" charset="-127"/>
            </a:endParaRPr>
          </a:p>
        </p:txBody>
      </p:sp>
      <p:sp>
        <p:nvSpPr>
          <p:cNvPr id="10" name="텍스트 개체 틀 3">
            <a:extLst>
              <a:ext uri="{FF2B5EF4-FFF2-40B4-BE49-F238E27FC236}">
                <a16:creationId xmlns:a16="http://schemas.microsoft.com/office/drawing/2014/main" id="{7690085B-8B19-38B6-E024-EA52AFBC2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1"/>
            <a:ext cx="9143468" cy="27699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2000" b="0" i="0" dirty="0">
                <a:effectLst/>
                <a:latin typeface="KB금융 본문체 Medium" panose="020B0603000000000000" pitchFamily="50" charset="-127"/>
              </a:rPr>
              <a:t>3. </a:t>
            </a:r>
            <a:r>
              <a:rPr lang="ko-KR" altLang="en-US" sz="2000" dirty="0">
                <a:latin typeface="KB금융 본문체 Medium" panose="020B0603000000000000" pitchFamily="50" charset="-127"/>
              </a:rPr>
              <a:t>마스터 </a:t>
            </a:r>
            <a:r>
              <a:rPr lang="ko-KR" altLang="en-US" sz="2000" dirty="0" err="1">
                <a:latin typeface="KB금융 본문체 Medium" panose="020B0603000000000000" pitchFamily="50" charset="-127"/>
              </a:rPr>
              <a:t>슬레이브</a:t>
            </a:r>
            <a:r>
              <a:rPr lang="ko-KR" altLang="en-US" sz="2000" dirty="0">
                <a:latin typeface="KB금융 본문체 Medium" panose="020B0603000000000000" pitchFamily="50" charset="-127"/>
              </a:rPr>
              <a:t> 아키텍처 설명</a:t>
            </a:r>
            <a:endParaRPr lang="ko-KR" alt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5768107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BB10067C-17B0-E43C-A8EC-058A600BC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04. </a:t>
            </a:r>
            <a:r>
              <a:rPr lang="ko-KR" altLang="en-US" dirty="0"/>
              <a:t>다중 데이터 소스 및 </a:t>
            </a:r>
            <a:r>
              <a:rPr lang="en-US" altLang="ko-KR" dirty="0" err="1"/>
              <a:t>MyBatis</a:t>
            </a:r>
            <a:r>
              <a:rPr lang="en-US" altLang="ko-KR" dirty="0"/>
              <a:t> </a:t>
            </a:r>
            <a:r>
              <a:rPr lang="ko-KR" altLang="en-US" dirty="0"/>
              <a:t>설정</a:t>
            </a:r>
          </a:p>
        </p:txBody>
      </p:sp>
      <p:sp>
        <p:nvSpPr>
          <p:cNvPr id="6" name="텍스트 개체 틀 3">
            <a:extLst>
              <a:ext uri="{FF2B5EF4-FFF2-40B4-BE49-F238E27FC236}">
                <a16:creationId xmlns:a16="http://schemas.microsoft.com/office/drawing/2014/main" id="{4A48CF2D-3AED-8172-28C7-DD3D31F1BA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884" y="731432"/>
            <a:ext cx="9143468" cy="560813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ko-KR" sz="1800" b="1" dirty="0"/>
              <a:t>1. </a:t>
            </a:r>
            <a:r>
              <a:rPr lang="ko-KR" altLang="en-US" sz="1800" b="1" dirty="0"/>
              <a:t>데이터 소스 구성 개요</a:t>
            </a: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kumimoji="0" lang="ko-KR" altLang="ko-KR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596491" lvl="1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u"/>
            </a:pPr>
            <a:r>
              <a:rPr kumimoji="0" lang="ko-KR" altLang="ko-KR" sz="1600" b="1" i="0" u="none" strike="noStrike" cap="none" normalizeH="0" baseline="0" dirty="0">
                <a:ln>
                  <a:noFill/>
                </a:ln>
                <a:effectLst/>
                <a:ea typeface="Söhne"/>
              </a:rPr>
              <a:t>마스터 및 </a:t>
            </a:r>
            <a:r>
              <a:rPr kumimoji="0" lang="ko-KR" altLang="ko-KR" sz="1600" b="1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600" b="1" i="0" u="none" strike="noStrike" cap="none" normalizeH="0" baseline="0" dirty="0">
                <a:ln>
                  <a:noFill/>
                </a:ln>
                <a:effectLst/>
                <a:ea typeface="Söhne"/>
              </a:rPr>
              <a:t> 구성: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이 스프링 부트 애플리케이션은 마스터와 </a:t>
            </a:r>
            <a:r>
              <a:rPr kumimoji="0" lang="ko-KR" altLang="ko-KR" sz="16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두 개의 데이터 소스를 관리합니다.</a:t>
            </a:r>
            <a:endParaRPr lang="en-US" altLang="ko-KR" sz="1600" dirty="0">
              <a:ea typeface="Söhne"/>
            </a:endParaRPr>
          </a:p>
          <a:p>
            <a:pPr marL="596491" lvl="1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u"/>
            </a:pPr>
            <a:endParaRPr kumimoji="0" lang="en-US" altLang="ko-KR" sz="1600" b="1" i="0" u="none" strike="noStrike" cap="none" normalizeH="0" baseline="0" dirty="0">
              <a:ln>
                <a:noFill/>
              </a:ln>
              <a:effectLst/>
              <a:ea typeface="Söhne"/>
            </a:endParaRPr>
          </a:p>
          <a:p>
            <a:pPr marL="596491" lvl="1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u"/>
            </a:pPr>
            <a:r>
              <a:rPr kumimoji="0" lang="ko-KR" altLang="ko-KR" sz="1600" b="1" i="0" u="none" strike="noStrike" cap="none" normalizeH="0" baseline="0" dirty="0">
                <a:ln>
                  <a:noFill/>
                </a:ln>
                <a:effectLst/>
                <a:ea typeface="Söhne"/>
              </a:rPr>
              <a:t>동적 라우팅: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현재 컨텍스트에 기반하여 데이터베이스 요청을 마스터 및 </a:t>
            </a:r>
            <a:r>
              <a:rPr kumimoji="0" lang="ko-KR" altLang="ko-KR" sz="16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슬레이브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간에 동적으로 라우팅하는 사용자 정의 </a:t>
            </a:r>
            <a:r>
              <a:rPr kumimoji="0" lang="ko-KR" altLang="ko-KR" sz="1600" b="1" i="0" u="none" strike="noStrike" cap="none" normalizeH="0" baseline="0" dirty="0" err="1">
                <a:ln>
                  <a:noFill/>
                </a:ln>
                <a:effectLst/>
                <a:ea typeface="Söhne Mono"/>
              </a:rPr>
              <a:t>RoutingDataSource</a:t>
            </a:r>
            <a:r>
              <a:rPr kumimoji="0" lang="ko-KR" altLang="ko-KR" sz="1600" b="0" i="0" u="none" strike="noStrike" cap="none" normalizeH="0" baseline="0" dirty="0" err="1">
                <a:ln>
                  <a:noFill/>
                </a:ln>
                <a:effectLst/>
                <a:ea typeface="Söhne"/>
              </a:rPr>
              <a:t>를</a:t>
            </a:r>
            <a:r>
              <a:rPr kumimoji="0" lang="ko-KR" altLang="ko-KR" sz="1600" b="0" i="0" u="none" strike="noStrike" cap="none" normalizeH="0" baseline="0" dirty="0">
                <a:ln>
                  <a:noFill/>
                </a:ln>
                <a:effectLst/>
                <a:ea typeface="Söhne"/>
              </a:rPr>
              <a:t> 활용합니다.</a:t>
            </a:r>
          </a:p>
          <a:p>
            <a:endParaRPr lang="en-US" altLang="ko-KR" sz="1800" b="1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800" b="1" dirty="0"/>
          </a:p>
          <a:p>
            <a:endParaRPr lang="ko-KR" altLang="en-US" sz="1800" b="1" dirty="0"/>
          </a:p>
        </p:txBody>
      </p:sp>
      <p:pic>
        <p:nvPicPr>
          <p:cNvPr id="4" name="그림 3" descr="텍스트, 원, 라인, 도표이(가) 표시된 사진&#10;&#10;자동 생성된 설명">
            <a:extLst>
              <a:ext uri="{FF2B5EF4-FFF2-40B4-BE49-F238E27FC236}">
                <a16:creationId xmlns:a16="http://schemas.microsoft.com/office/drawing/2014/main" id="{D4734C93-D1B2-846D-C670-A373D0AAF3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442" y="1106006"/>
            <a:ext cx="4131050" cy="2900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675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나눔고딕"/>
        <a:font script="Hebr" typeface="나눔고딕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나눔고딕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.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The K 프로젝트">
  <a:themeElements>
    <a:clrScheme name="The-K">
      <a:dk1>
        <a:srgbClr val="000000"/>
      </a:dk1>
      <a:lt1>
        <a:srgbClr val="FFFFFF"/>
      </a:lt1>
      <a:dk2>
        <a:srgbClr val="FFD200"/>
      </a:dk2>
      <a:lt2>
        <a:srgbClr val="FFE600"/>
      </a:lt2>
      <a:accent1>
        <a:srgbClr val="1F497D"/>
      </a:accent1>
      <a:accent2>
        <a:srgbClr val="C00000"/>
      </a:accent2>
      <a:accent3>
        <a:srgbClr val="9BBB59"/>
      </a:accent3>
      <a:accent4>
        <a:srgbClr val="858274"/>
      </a:accent4>
      <a:accent5>
        <a:srgbClr val="FFA600"/>
      </a:accent5>
      <a:accent6>
        <a:srgbClr val="62574A"/>
      </a:accent6>
      <a:hlink>
        <a:srgbClr val="364086"/>
      </a:hlink>
      <a:folHlink>
        <a:srgbClr val="A3AADA"/>
      </a:folHlink>
    </a:clrScheme>
    <a:fontScheme name="The K 공식글꼴 Medium-Light">
      <a:majorFont>
        <a:latin typeface="KB금융 제목체 Medium"/>
        <a:ea typeface="KB금융 제목체 Medium"/>
        <a:cs typeface=""/>
      </a:majorFont>
      <a:minorFont>
        <a:latin typeface="KB금융 본문체 Light"/>
        <a:ea typeface="KB금융 본문체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 cap="flat">
          <a:noFill/>
          <a:miter lim="800000"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spcBef>
            <a:spcPts val="600"/>
          </a:spcBef>
          <a:defRPr sz="1200"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bg1">
              <a:lumMod val="50000"/>
            </a:schemeClr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square" lIns="72000" tIns="36000" rIns="72000" bIns="36000" rtlCol="0" anchor="t" anchorCtr="0">
        <a:noAutofit/>
      </a:bodyPr>
      <a:lstStyle>
        <a:defPPr>
          <a:lnSpc>
            <a:spcPct val="90000"/>
          </a:lnSpc>
          <a:defRPr sz="1200" smtClean="0"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640276DA-974F-4972-AC73-9FCF75EFFC11}" vid="{6D8D49E7-FB85-45D6-8CFF-1757C33FAB73}"/>
    </a:ext>
  </a:extLst>
</a:theme>
</file>

<file path=ppt/theme/theme4.xml><?xml version="1.0" encoding="utf-8"?>
<a:theme xmlns:a="http://schemas.openxmlformats.org/drawingml/2006/main" name="1_The K 프로젝트">
  <a:themeElements>
    <a:clrScheme name="The-K">
      <a:dk1>
        <a:srgbClr val="000000"/>
      </a:dk1>
      <a:lt1>
        <a:srgbClr val="FFFFFF"/>
      </a:lt1>
      <a:dk2>
        <a:srgbClr val="FFD200"/>
      </a:dk2>
      <a:lt2>
        <a:srgbClr val="FFE600"/>
      </a:lt2>
      <a:accent1>
        <a:srgbClr val="1F497D"/>
      </a:accent1>
      <a:accent2>
        <a:srgbClr val="C00000"/>
      </a:accent2>
      <a:accent3>
        <a:srgbClr val="9BBB59"/>
      </a:accent3>
      <a:accent4>
        <a:srgbClr val="858274"/>
      </a:accent4>
      <a:accent5>
        <a:srgbClr val="FFA600"/>
      </a:accent5>
      <a:accent6>
        <a:srgbClr val="62574A"/>
      </a:accent6>
      <a:hlink>
        <a:srgbClr val="364086"/>
      </a:hlink>
      <a:folHlink>
        <a:srgbClr val="A3AADA"/>
      </a:folHlink>
    </a:clrScheme>
    <a:fontScheme name="The K 공식글꼴 Medium-Light">
      <a:majorFont>
        <a:latin typeface="KB금융 제목체 Medium"/>
        <a:ea typeface="KB금융 제목체 Medium"/>
        <a:cs typeface=""/>
      </a:majorFont>
      <a:minorFont>
        <a:latin typeface="KB금융 본문체 Light"/>
        <a:ea typeface="KB금융 본문체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 cap="flat">
          <a:noFill/>
          <a:miter lim="800000"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spcBef>
            <a:spcPts val="600"/>
          </a:spcBef>
          <a:defRPr sz="1200"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bg1">
              <a:lumMod val="50000"/>
            </a:schemeClr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square" lIns="72000" tIns="36000" rIns="72000" bIns="36000" rtlCol="0" anchor="t" anchorCtr="0">
        <a:noAutofit/>
      </a:bodyPr>
      <a:lstStyle>
        <a:defPPr>
          <a:lnSpc>
            <a:spcPct val="90000"/>
          </a:lnSpc>
          <a:defRPr sz="1200" smtClean="0"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640276DA-974F-4972-AC73-9FCF75EFFC11}" vid="{6D8D49E7-FB85-45D6-8CFF-1757C33FAB73}"/>
    </a:ext>
  </a:extLst>
</a:theme>
</file>

<file path=ppt/theme/theme5.xml><?xml version="1.0" encoding="utf-8"?>
<a:theme xmlns:a="http://schemas.openxmlformats.org/drawingml/2006/main" name="The K 프로젝트">
  <a:themeElements>
    <a:clrScheme name="The-K">
      <a:dk1>
        <a:srgbClr val="000000"/>
      </a:dk1>
      <a:lt1>
        <a:srgbClr val="FFFFFF"/>
      </a:lt1>
      <a:dk2>
        <a:srgbClr val="FFD200"/>
      </a:dk2>
      <a:lt2>
        <a:srgbClr val="FFE600"/>
      </a:lt2>
      <a:accent1>
        <a:srgbClr val="1F497D"/>
      </a:accent1>
      <a:accent2>
        <a:srgbClr val="C00000"/>
      </a:accent2>
      <a:accent3>
        <a:srgbClr val="9BBB59"/>
      </a:accent3>
      <a:accent4>
        <a:srgbClr val="858274"/>
      </a:accent4>
      <a:accent5>
        <a:srgbClr val="FFA600"/>
      </a:accent5>
      <a:accent6>
        <a:srgbClr val="62574A"/>
      </a:accent6>
      <a:hlink>
        <a:srgbClr val="364086"/>
      </a:hlink>
      <a:folHlink>
        <a:srgbClr val="A3AADA"/>
      </a:folHlink>
    </a:clrScheme>
    <a:fontScheme name="The K 공식글꼴 Medium-Light">
      <a:majorFont>
        <a:latin typeface="KB금융 제목체 Medium"/>
        <a:ea typeface="KB금융 제목체 Medium"/>
        <a:cs typeface=""/>
      </a:majorFont>
      <a:minorFont>
        <a:latin typeface="KB금융 본문체 Light"/>
        <a:ea typeface="KB금융 본문체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 cap="flat">
          <a:noFill/>
          <a:miter lim="800000"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spcBef>
            <a:spcPts val="600"/>
          </a:spcBef>
          <a:defRPr sz="1200"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bg1">
              <a:lumMod val="50000"/>
            </a:schemeClr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square" lIns="72000" tIns="36000" rIns="72000" bIns="36000" rtlCol="0" anchor="t" anchorCtr="0">
        <a:noAutofit/>
      </a:bodyPr>
      <a:lstStyle>
        <a:defPPr>
          <a:lnSpc>
            <a:spcPct val="90000"/>
          </a:lnSpc>
          <a:defRPr sz="1200" smtClean="0"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640276DA-974F-4972-AC73-9FCF75EFFC11}" vid="{6D8D49E7-FB85-45D6-8CFF-1757C33FAB73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나눔고딕"/>
        <a:font script="Hebr" typeface="나눔고딕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나눔고딕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BA61A443C784E0499C7258667184A482" ma:contentTypeVersion="3" ma:contentTypeDescription="새 문서를 만듭니다." ma:contentTypeScope="" ma:versionID="3b7038fc94f116fa90909404327fb2cf">
  <xsd:schema xmlns:xsd="http://www.w3.org/2001/XMLSchema" xmlns:xs="http://www.w3.org/2001/XMLSchema" xmlns:p="http://schemas.microsoft.com/office/2006/metadata/properties" xmlns:ns2="bba82d5d-5ef7-462c-8ce8-4c4f254666cf" targetNamespace="http://schemas.microsoft.com/office/2006/metadata/properties" ma:root="true" ma:fieldsID="77f5fc1ce8ab60d411249b0952716f6b" ns2:_="">
    <xsd:import namespace="bba82d5d-5ef7-462c-8ce8-4c4f254666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a82d5d-5ef7-462c-8ce8-4c4f254666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3867B95-767B-4759-93C5-750D820830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9B25C2D-0F0C-4229-9092-AAD739F5DA58}">
  <ds:schemaRefs>
    <ds:schemaRef ds:uri="bba82d5d-5ef7-462c-8ce8-4c4f254666c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529E9AE-1F9A-478E-AA75-112CD765F25A}">
  <ds:schemaRefs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bba82d5d-5ef7-462c-8ce8-4c4f254666cf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48</TotalTime>
  <Words>3558</Words>
  <Application>Microsoft Office PowerPoint</Application>
  <PresentationFormat>A4 용지(210x297mm)</PresentationFormat>
  <Paragraphs>563</Paragraphs>
  <Slides>29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5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9</vt:i4>
      </vt:variant>
    </vt:vector>
  </HeadingPairs>
  <TitlesOfParts>
    <vt:vector size="45" baseType="lpstr">
      <vt:lpstr>Malgun Gothic</vt:lpstr>
      <vt:lpstr>KB금융 본문체 Light</vt:lpstr>
      <vt:lpstr>KB금융 제목체 Medium</vt:lpstr>
      <vt:lpstr>KB금융 본문체 Medium</vt:lpstr>
      <vt:lpstr>HY중고딕</vt:lpstr>
      <vt:lpstr>나눔고딕</vt:lpstr>
      <vt:lpstr>Arial</vt:lpstr>
      <vt:lpstr>Arial Unicode MS</vt:lpstr>
      <vt:lpstr>Wingdings</vt:lpstr>
      <vt:lpstr>Consolas</vt:lpstr>
      <vt:lpstr>3_Office 테마</vt:lpstr>
      <vt:lpstr>4_I.</vt:lpstr>
      <vt:lpstr>4_The K 프로젝트</vt:lpstr>
      <vt:lpstr>1_The K 프로젝트</vt:lpstr>
      <vt:lpstr>The K 프로젝트</vt:lpstr>
      <vt:lpstr>think-cell Slide</vt:lpstr>
      <vt:lpstr>PowerPoint 프레젠테이션</vt:lpstr>
      <vt:lpstr>PowerPoint 프레젠테이션</vt:lpstr>
      <vt:lpstr>프로젝트 목표</vt:lpstr>
      <vt:lpstr>01. 프로젝트 스펙</vt:lpstr>
      <vt:lpstr>02. 의존성 추가</vt:lpstr>
      <vt:lpstr>03. applicatiton.yml</vt:lpstr>
      <vt:lpstr>03. applicatiton.yml</vt:lpstr>
      <vt:lpstr>03. applicatiton.yml</vt:lpstr>
      <vt:lpstr>04. 다중 데이터 소스 및 MyBatis 설정</vt:lpstr>
      <vt:lpstr>04. 다중 데이터 소스 및 MyBatis 설정</vt:lpstr>
      <vt:lpstr>04. 다중 데이터 소스 및 MyBatis 설정</vt:lpstr>
      <vt:lpstr>04. 다중 데이터 소스 및 MyBatis 설정</vt:lpstr>
      <vt:lpstr>04. 다중 데이터 소스 및 MyBatis 설정</vt:lpstr>
      <vt:lpstr>04. 다중 데이터 소스 및 MyBatis 설정</vt:lpstr>
      <vt:lpstr>04. 다중 데이터 소스 및 MyBatis 설정</vt:lpstr>
      <vt:lpstr>05. VO 구현</vt:lpstr>
      <vt:lpstr>05. VO 구현</vt:lpstr>
      <vt:lpstr>06. Service 구현</vt:lpstr>
      <vt:lpstr>06. Service 구현</vt:lpstr>
      <vt:lpstr>06. Service 구현</vt:lpstr>
      <vt:lpstr>06. Service 구현</vt:lpstr>
      <vt:lpstr>06. Service 구현</vt:lpstr>
      <vt:lpstr>06. Service 구현</vt:lpstr>
      <vt:lpstr>06. Service 구현</vt:lpstr>
      <vt:lpstr>06. Service 구현</vt:lpstr>
      <vt:lpstr>07. Mapper 구현</vt:lpstr>
      <vt:lpstr>07. Mapper 구현</vt:lpstr>
      <vt:lpstr>08. CREATE TABLE QUERY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KDS</dc:creator>
  <cp:lastModifiedBy>김민서</cp:lastModifiedBy>
  <cp:revision>41</cp:revision>
  <cp:lastPrinted>2023-04-27T11:57:50Z</cp:lastPrinted>
  <dcterms:created xsi:type="dcterms:W3CDTF">2018-09-14T04:16:15Z</dcterms:created>
  <dcterms:modified xsi:type="dcterms:W3CDTF">2023-12-11T07:4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61A443C784E0499C7258667184A482</vt:lpwstr>
  </property>
</Properties>
</file>